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charts/chart12.xml" ContentType="application/vnd.openxmlformats-officedocument.drawingml.chart+xml"/>
  <Override PartName="/ppt/theme/themeOverride12.xml" ContentType="application/vnd.openxmlformats-officedocument.themeOverrid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charts/chart14.xml" ContentType="application/vnd.openxmlformats-officedocument.drawingml.chart+xml"/>
  <Override PartName="/ppt/theme/themeOverride14.xml" ContentType="application/vnd.openxmlformats-officedocument.themeOverrid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charts/chart15.xml" ContentType="application/vnd.openxmlformats-officedocument.drawingml.chart+xml"/>
  <Override PartName="/ppt/theme/themeOverride15.xml" ContentType="application/vnd.openxmlformats-officedocument.themeOverrid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charts/chart16.xml" ContentType="application/vnd.openxmlformats-officedocument.drawingml.chart+xml"/>
  <Override PartName="/ppt/theme/themeOverride16.xml" ContentType="application/vnd.openxmlformats-officedocument.themeOverride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charts/chart17.xml" ContentType="application/vnd.openxmlformats-officedocument.drawingml.chart+xml"/>
  <Override PartName="/ppt/theme/themeOverride17.xml" ContentType="application/vnd.openxmlformats-officedocument.themeOverrid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charts/chart18.xml" ContentType="application/vnd.openxmlformats-officedocument.drawingml.chart+xml"/>
  <Override PartName="/ppt/theme/themeOverride18.xml" ContentType="application/vnd.openxmlformats-officedocument.themeOverride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charts/chart19.xml" ContentType="application/vnd.openxmlformats-officedocument.drawingml.chart+xml"/>
  <Override PartName="/ppt/theme/themeOverride19.xml" ContentType="application/vnd.openxmlformats-officedocument.themeOverride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charts/chart20.xml" ContentType="application/vnd.openxmlformats-officedocument.drawingml.chart+xml"/>
  <Override PartName="/ppt/theme/themeOverride20.xml" ContentType="application/vnd.openxmlformats-officedocument.themeOverride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charts/chart21.xml" ContentType="application/vnd.openxmlformats-officedocument.drawingml.chart+xml"/>
  <Override PartName="/ppt/theme/themeOverride21.xml" ContentType="application/vnd.openxmlformats-officedocument.themeOverride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charts/chart22.xml" ContentType="application/vnd.openxmlformats-officedocument.drawingml.chart+xml"/>
  <Override PartName="/ppt/theme/themeOverride22.xml" ContentType="application/vnd.openxmlformats-officedocument.themeOverride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charts/chart23.xml" ContentType="application/vnd.openxmlformats-officedocument.drawingml.chart+xml"/>
  <Override PartName="/ppt/theme/themeOverride23.xml" ContentType="application/vnd.openxmlformats-officedocument.themeOverride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charts/chart24.xml" ContentType="application/vnd.openxmlformats-officedocument.drawingml.chart+xml"/>
  <Override PartName="/ppt/theme/themeOverride24.xml" ContentType="application/vnd.openxmlformats-officedocument.themeOverride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charts/chart25.xml" ContentType="application/vnd.openxmlformats-officedocument.drawingml.chart+xml"/>
  <Override PartName="/ppt/theme/themeOverride25.xml" ContentType="application/vnd.openxmlformats-officedocument.themeOverride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charts/chart26.xml" ContentType="application/vnd.openxmlformats-officedocument.drawingml.chart+xml"/>
  <Override PartName="/ppt/theme/themeOverride26.xml" ContentType="application/vnd.openxmlformats-officedocument.themeOverride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charts/chart27.xml" ContentType="application/vnd.openxmlformats-officedocument.drawingml.chart+xml"/>
  <Override PartName="/ppt/theme/themeOverride27.xml" ContentType="application/vnd.openxmlformats-officedocument.themeOverride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charts/chart28.xml" ContentType="application/vnd.openxmlformats-officedocument.drawingml.chart+xml"/>
  <Override PartName="/ppt/theme/themeOverride28.xml" ContentType="application/vnd.openxmlformats-officedocument.themeOverride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charts/chart29.xml" ContentType="application/vnd.openxmlformats-officedocument.drawingml.chart+xml"/>
  <Override PartName="/ppt/theme/themeOverride29.xml" ContentType="application/vnd.openxmlformats-officedocument.themeOverride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charts/chart30.xml" ContentType="application/vnd.openxmlformats-officedocument.drawingml.chart+xml"/>
  <Override PartName="/ppt/theme/themeOverride30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notesMasterIdLst>
    <p:notesMasterId r:id="rId35"/>
  </p:notesMasterIdLst>
  <p:sldIdLst>
    <p:sldId id="4562" r:id="rId3"/>
    <p:sldId id="4563" r:id="rId4"/>
    <p:sldId id="4564" r:id="rId5"/>
    <p:sldId id="4565" r:id="rId6"/>
    <p:sldId id="4566" r:id="rId7"/>
    <p:sldId id="4567" r:id="rId8"/>
    <p:sldId id="4568" r:id="rId9"/>
    <p:sldId id="4569" r:id="rId10"/>
    <p:sldId id="4570" r:id="rId11"/>
    <p:sldId id="4571" r:id="rId12"/>
    <p:sldId id="4572" r:id="rId13"/>
    <p:sldId id="4573" r:id="rId14"/>
    <p:sldId id="4574" r:id="rId15"/>
    <p:sldId id="4575" r:id="rId16"/>
    <p:sldId id="4576" r:id="rId17"/>
    <p:sldId id="4577" r:id="rId18"/>
    <p:sldId id="4578" r:id="rId19"/>
    <p:sldId id="4579" r:id="rId20"/>
    <p:sldId id="4580" r:id="rId21"/>
    <p:sldId id="4581" r:id="rId22"/>
    <p:sldId id="4582" r:id="rId23"/>
    <p:sldId id="4583" r:id="rId24"/>
    <p:sldId id="4584" r:id="rId25"/>
    <p:sldId id="4585" r:id="rId26"/>
    <p:sldId id="4586" r:id="rId27"/>
    <p:sldId id="4587" r:id="rId28"/>
    <p:sldId id="4588" r:id="rId29"/>
    <p:sldId id="4589" r:id="rId30"/>
    <p:sldId id="4590" r:id="rId31"/>
    <p:sldId id="4591" r:id="rId32"/>
    <p:sldId id="4592" r:id="rId33"/>
    <p:sldId id="4593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D31145"/>
    <a:srgbClr val="4472C4"/>
    <a:srgbClr val="EB4B03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04" d="100"/>
          <a:sy n="104" d="100"/>
        </p:scale>
        <p:origin x="12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13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14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15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16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17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8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9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20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0.xlsx"/><Relationship Id="rId1" Type="http://schemas.openxmlformats.org/officeDocument/2006/relationships/themeOverride" Target="../theme/themeOverride21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1.xlsx"/><Relationship Id="rId1" Type="http://schemas.openxmlformats.org/officeDocument/2006/relationships/themeOverride" Target="../theme/themeOverride22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2.xlsx"/><Relationship Id="rId1" Type="http://schemas.openxmlformats.org/officeDocument/2006/relationships/themeOverride" Target="../theme/themeOverride23.xm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3.xlsx"/><Relationship Id="rId1" Type="http://schemas.openxmlformats.org/officeDocument/2006/relationships/themeOverride" Target="../theme/themeOverride24.xml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4.xlsx"/><Relationship Id="rId1" Type="http://schemas.openxmlformats.org/officeDocument/2006/relationships/themeOverride" Target="../theme/themeOverride25.xml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5.xlsx"/><Relationship Id="rId1" Type="http://schemas.openxmlformats.org/officeDocument/2006/relationships/themeOverride" Target="../theme/themeOverride26.xml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6.xlsx"/><Relationship Id="rId1" Type="http://schemas.openxmlformats.org/officeDocument/2006/relationships/themeOverride" Target="../theme/themeOverride27.xml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7.xlsx"/><Relationship Id="rId1" Type="http://schemas.openxmlformats.org/officeDocument/2006/relationships/themeOverride" Target="../theme/themeOverride28.xml"/></Relationships>
</file>

<file path=ppt/charts/_rels/chart2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8.xlsx"/><Relationship Id="rId1" Type="http://schemas.openxmlformats.org/officeDocument/2006/relationships/themeOverride" Target="../theme/themeOverride29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9.xlsx"/><Relationship Id="rId1" Type="http://schemas.openxmlformats.org/officeDocument/2006/relationships/themeOverride" Target="../theme/themeOverride30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4</c:v>
                </c:pt>
                <c:pt idx="1">
                  <c:v>234</c:v>
                </c:pt>
                <c:pt idx="2">
                  <c:v>247</c:v>
                </c:pt>
                <c:pt idx="3">
                  <c:v>302</c:v>
                </c:pt>
                <c:pt idx="4">
                  <c:v>302</c:v>
                </c:pt>
                <c:pt idx="5">
                  <c:v>326</c:v>
                </c:pt>
                <c:pt idx="6">
                  <c:v>316</c:v>
                </c:pt>
                <c:pt idx="7">
                  <c:v>344</c:v>
                </c:pt>
                <c:pt idx="8">
                  <c:v>333</c:v>
                </c:pt>
                <c:pt idx="9">
                  <c:v>350</c:v>
                </c:pt>
                <c:pt idx="10">
                  <c:v>425</c:v>
                </c:pt>
                <c:pt idx="11">
                  <c:v>444</c:v>
                </c:pt>
                <c:pt idx="12">
                  <c:v>470</c:v>
                </c:pt>
                <c:pt idx="13">
                  <c:v>496</c:v>
                </c:pt>
                <c:pt idx="14">
                  <c:v>527</c:v>
                </c:pt>
                <c:pt idx="15">
                  <c:v>515</c:v>
                </c:pt>
                <c:pt idx="16">
                  <c:v>541</c:v>
                </c:pt>
                <c:pt idx="17">
                  <c:v>662</c:v>
                </c:pt>
                <c:pt idx="18">
                  <c:v>725</c:v>
                </c:pt>
                <c:pt idx="19">
                  <c:v>795</c:v>
                </c:pt>
                <c:pt idx="20">
                  <c:v>838</c:v>
                </c:pt>
                <c:pt idx="21">
                  <c:v>919</c:v>
                </c:pt>
                <c:pt idx="22">
                  <c:v>927</c:v>
                </c:pt>
                <c:pt idx="23">
                  <c:v>990</c:v>
                </c:pt>
                <c:pt idx="24">
                  <c:v>1172</c:v>
                </c:pt>
                <c:pt idx="25">
                  <c:v>1293</c:v>
                </c:pt>
                <c:pt idx="26">
                  <c:v>1395</c:v>
                </c:pt>
                <c:pt idx="27">
                  <c:v>1389</c:v>
                </c:pt>
                <c:pt idx="28">
                  <c:v>1577</c:v>
                </c:pt>
                <c:pt idx="29">
                  <c:v>1596</c:v>
                </c:pt>
                <c:pt idx="30">
                  <c:v>1729</c:v>
                </c:pt>
                <c:pt idx="31">
                  <c:v>2101</c:v>
                </c:pt>
                <c:pt idx="32">
                  <c:v>2291</c:v>
                </c:pt>
                <c:pt idx="33">
                  <c:v>2493</c:v>
                </c:pt>
                <c:pt idx="34">
                  <c:v>2657</c:v>
                </c:pt>
                <c:pt idx="35">
                  <c:v>2793</c:v>
                </c:pt>
                <c:pt idx="36">
                  <c:v>2799</c:v>
                </c:pt>
                <c:pt idx="37">
                  <c:v>2949</c:v>
                </c:pt>
                <c:pt idx="38">
                  <c:v>3403</c:v>
                </c:pt>
                <c:pt idx="39">
                  <c:v>3587</c:v>
                </c:pt>
                <c:pt idx="40">
                  <c:v>3727</c:v>
                </c:pt>
                <c:pt idx="41">
                  <c:v>3862</c:v>
                </c:pt>
                <c:pt idx="42">
                  <c:v>4009</c:v>
                </c:pt>
                <c:pt idx="43">
                  <c:v>3892</c:v>
                </c:pt>
                <c:pt idx="44">
                  <c:v>4009</c:v>
                </c:pt>
                <c:pt idx="45">
                  <c:v>4590</c:v>
                </c:pt>
                <c:pt idx="46">
                  <c:v>45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74.8266915745994</c:v>
                </c:pt>
                <c:pt idx="43">
                  <c:v>4000.7649631137347</c:v>
                </c:pt>
                <c:pt idx="44">
                  <c:v>4126.3636197642336</c:v>
                </c:pt>
                <c:pt idx="45">
                  <c:v>4246.8519586359671</c:v>
                </c:pt>
                <c:pt idx="46">
                  <c:v>4357.7449058198672</c:v>
                </c:pt>
                <c:pt idx="47">
                  <c:v>4461.1798325185819</c:v>
                </c:pt>
                <c:pt idx="48">
                  <c:v>4561.4503701634731</c:v>
                </c:pt>
                <c:pt idx="49">
                  <c:v>4660.4655418011025</c:v>
                </c:pt>
                <c:pt idx="50">
                  <c:v>4757.6593438429773</c:v>
                </c:pt>
                <c:pt idx="51">
                  <c:v>4858.1037055510278</c:v>
                </c:pt>
                <c:pt idx="52">
                  <c:v>4955.2698137298621</c:v>
                </c:pt>
                <c:pt idx="53">
                  <c:v>5037.851718867676</c:v>
                </c:pt>
                <c:pt idx="54">
                  <c:v>5112.8062867582794</c:v>
                </c:pt>
                <c:pt idx="55">
                  <c:v>5184.8357063969961</c:v>
                </c:pt>
                <c:pt idx="56">
                  <c:v>5255.5396750814843</c:v>
                </c:pt>
                <c:pt idx="57">
                  <c:v>5325.598673688386</c:v>
                </c:pt>
                <c:pt idx="58">
                  <c:v>5394.5302687169533</c:v>
                </c:pt>
                <c:pt idx="59">
                  <c:v>5461.5112579097104</c:v>
                </c:pt>
                <c:pt idx="60">
                  <c:v>5523.106765469247</c:v>
                </c:pt>
                <c:pt idx="61">
                  <c:v>5579.9682808836278</c:v>
                </c:pt>
                <c:pt idx="62">
                  <c:v>5632.7848342359175</c:v>
                </c:pt>
                <c:pt idx="63">
                  <c:v>5681.9344968879614</c:v>
                </c:pt>
                <c:pt idx="64">
                  <c:v>5726.9117901050686</c:v>
                </c:pt>
                <c:pt idx="65">
                  <c:v>5768.6191703553777</c:v>
                </c:pt>
                <c:pt idx="66">
                  <c:v>5806.3310357463051</c:v>
                </c:pt>
                <c:pt idx="67">
                  <c:v>5840.2229265257083</c:v>
                </c:pt>
                <c:pt idx="68">
                  <c:v>5868.9282885581733</c:v>
                </c:pt>
                <c:pt idx="69">
                  <c:v>5893.066540476213</c:v>
                </c:pt>
                <c:pt idx="70">
                  <c:v>5913.1832379434609</c:v>
                </c:pt>
                <c:pt idx="71">
                  <c:v>5927.2707698645754</c:v>
                </c:pt>
                <c:pt idx="72">
                  <c:v>5936.7406334869083</c:v>
                </c:pt>
                <c:pt idx="73">
                  <c:v>5941.7682210099574</c:v>
                </c:pt>
                <c:pt idx="74">
                  <c:v>5941.4840299436837</c:v>
                </c:pt>
                <c:pt idx="75">
                  <c:v>5936.1953895340221</c:v>
                </c:pt>
                <c:pt idx="76">
                  <c:v>5926.0593653684864</c:v>
                </c:pt>
                <c:pt idx="77">
                  <c:v>5911.4925302807624</c:v>
                </c:pt>
                <c:pt idx="78">
                  <c:v>5891.1145246271153</c:v>
                </c:pt>
                <c:pt idx="79">
                  <c:v>5866.1678405466046</c:v>
                </c:pt>
                <c:pt idx="80">
                  <c:v>5836.6640093508631</c:v>
                </c:pt>
                <c:pt idx="81">
                  <c:v>5801.8842766630696</c:v>
                </c:pt>
                <c:pt idx="82">
                  <c:v>5762.0073052004482</c:v>
                </c:pt>
                <c:pt idx="83">
                  <c:v>5718.2310743467178</c:v>
                </c:pt>
                <c:pt idx="84">
                  <c:v>5670.1237920150879</c:v>
                </c:pt>
                <c:pt idx="85">
                  <c:v>5616.8306867096635</c:v>
                </c:pt>
                <c:pt idx="86">
                  <c:v>5560.449341745787</c:v>
                </c:pt>
                <c:pt idx="87">
                  <c:v>5500.5212514270279</c:v>
                </c:pt>
                <c:pt idx="88">
                  <c:v>5434.9249047022322</c:v>
                </c:pt>
                <c:pt idx="89">
                  <c:v>5366.4713539503809</c:v>
                </c:pt>
                <c:pt idx="90">
                  <c:v>5295.1997817793708</c:v>
                </c:pt>
                <c:pt idx="91">
                  <c:v>5220.5883678919135</c:v>
                </c:pt>
                <c:pt idx="92">
                  <c:v>5141.6385683384124</c:v>
                </c:pt>
                <c:pt idx="93">
                  <c:v>5059.7844572957156</c:v>
                </c:pt>
                <c:pt idx="94">
                  <c:v>4975.6441177210791</c:v>
                </c:pt>
                <c:pt idx="95">
                  <c:v>4888.91526968881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883.7724957326491</c:v>
                </c:pt>
                <c:pt idx="43">
                  <c:v>4021.8651703173618</c:v>
                </c:pt>
                <c:pt idx="44">
                  <c:v>4163.0571947267417</c:v>
                </c:pt>
                <c:pt idx="45">
                  <c:v>4302.6712117083389</c:v>
                </c:pt>
                <c:pt idx="46">
                  <c:v>4436.3983667800385</c:v>
                </c:pt>
                <c:pt idx="47">
                  <c:v>4566.3664649222883</c:v>
                </c:pt>
                <c:pt idx="48">
                  <c:v>4696.9225458938081</c:v>
                </c:pt>
                <c:pt idx="49">
                  <c:v>4829.8886898653491</c:v>
                </c:pt>
                <c:pt idx="50">
                  <c:v>4964.6851723175714</c:v>
                </c:pt>
                <c:pt idx="51">
                  <c:v>5106.2691649077651</c:v>
                </c:pt>
                <c:pt idx="52">
                  <c:v>5248.0490617810719</c:v>
                </c:pt>
                <c:pt idx="53">
                  <c:v>5378.5801272190911</c:v>
                </c:pt>
                <c:pt idx="54">
                  <c:v>5504.7041800399766</c:v>
                </c:pt>
                <c:pt idx="55">
                  <c:v>5630.9313152074346</c:v>
                </c:pt>
                <c:pt idx="56">
                  <c:v>5758.5854770970145</c:v>
                </c:pt>
                <c:pt idx="57">
                  <c:v>5887.8355049395113</c:v>
                </c:pt>
                <c:pt idx="58">
                  <c:v>6018.036375473841</c:v>
                </c:pt>
                <c:pt idx="59">
                  <c:v>6148.1174291578545</c:v>
                </c:pt>
                <c:pt idx="60">
                  <c:v>6274.4753812746858</c:v>
                </c:pt>
                <c:pt idx="61">
                  <c:v>6397.4250467610227</c:v>
                </c:pt>
                <c:pt idx="62">
                  <c:v>6517.4063018172365</c:v>
                </c:pt>
                <c:pt idx="63">
                  <c:v>6634.4979616464334</c:v>
                </c:pt>
                <c:pt idx="64">
                  <c:v>6747.8381258254449</c:v>
                </c:pt>
                <c:pt idx="65">
                  <c:v>6858.0152150647627</c:v>
                </c:pt>
                <c:pt idx="66">
                  <c:v>6964.0475227458237</c:v>
                </c:pt>
                <c:pt idx="67">
                  <c:v>7065.8127870876533</c:v>
                </c:pt>
                <c:pt idx="68">
                  <c:v>7161.6785672445494</c:v>
                </c:pt>
                <c:pt idx="69">
                  <c:v>7251.9875202190015</c:v>
                </c:pt>
                <c:pt idx="70">
                  <c:v>7336.997413029294</c:v>
                </c:pt>
                <c:pt idx="71">
                  <c:v>7414.4261695508612</c:v>
                </c:pt>
                <c:pt idx="72">
                  <c:v>7485.4020724328948</c:v>
                </c:pt>
                <c:pt idx="73">
                  <c:v>7549.8552017784714</c:v>
                </c:pt>
                <c:pt idx="74">
                  <c:v>7606.6812658407434</c:v>
                </c:pt>
                <c:pt idx="75">
                  <c:v>7655.9601133157566</c:v>
                </c:pt>
                <c:pt idx="76">
                  <c:v>7697.6356567036783</c:v>
                </c:pt>
                <c:pt idx="77">
                  <c:v>7731.9422521323904</c:v>
                </c:pt>
                <c:pt idx="78">
                  <c:v>7757.3172289474414</c:v>
                </c:pt>
                <c:pt idx="79">
                  <c:v>7774.8523594207973</c:v>
                </c:pt>
                <c:pt idx="80">
                  <c:v>7784.4222024789415</c:v>
                </c:pt>
                <c:pt idx="81">
                  <c:v>7785.1904771195777</c:v>
                </c:pt>
                <c:pt idx="82">
                  <c:v>7777.2303691396628</c:v>
                </c:pt>
                <c:pt idx="83">
                  <c:v>7761.6674912508715</c:v>
                </c:pt>
                <c:pt idx="84">
                  <c:v>7738.0130518590768</c:v>
                </c:pt>
                <c:pt idx="85">
                  <c:v>7705.3756244397237</c:v>
                </c:pt>
                <c:pt idx="86">
                  <c:v>7665.8362387460747</c:v>
                </c:pt>
                <c:pt idx="87">
                  <c:v>7618.939138221861</c:v>
                </c:pt>
                <c:pt idx="88">
                  <c:v>7562.5763308956839</c:v>
                </c:pt>
                <c:pt idx="89">
                  <c:v>7499.603342788907</c:v>
                </c:pt>
                <c:pt idx="90">
                  <c:v>7430.1080738058808</c:v>
                </c:pt>
                <c:pt idx="91">
                  <c:v>7353.6387736028446</c:v>
                </c:pt>
                <c:pt idx="92">
                  <c:v>7269.1761846328609</c:v>
                </c:pt>
                <c:pt idx="93">
                  <c:v>7178.3251169050309</c:v>
                </c:pt>
                <c:pt idx="94">
                  <c:v>7081.8141108436248</c:v>
                </c:pt>
                <c:pt idx="95">
                  <c:v>6979.463472041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892.7752822914981</c:v>
                </c:pt>
                <c:pt idx="43">
                  <c:v>4043.1687347470597</c:v>
                </c:pt>
                <c:pt idx="44">
                  <c:v>4200.2470000448029</c:v>
                </c:pt>
                <c:pt idx="45">
                  <c:v>4359.4916428298739</c:v>
                </c:pt>
                <c:pt idx="46">
                  <c:v>4516.8426085193496</c:v>
                </c:pt>
                <c:pt idx="47">
                  <c:v>4674.49501363325</c:v>
                </c:pt>
                <c:pt idx="48">
                  <c:v>4836.9296358195488</c:v>
                </c:pt>
                <c:pt idx="49">
                  <c:v>5005.9629248299834</c:v>
                </c:pt>
                <c:pt idx="50">
                  <c:v>5181.0823628909475</c:v>
                </c:pt>
                <c:pt idx="51">
                  <c:v>5367.2087561997469</c:v>
                </c:pt>
                <c:pt idx="52">
                  <c:v>5557.7622339853688</c:v>
                </c:pt>
                <c:pt idx="53">
                  <c:v>5741.227412579784</c:v>
                </c:pt>
                <c:pt idx="54">
                  <c:v>5924.3916908957708</c:v>
                </c:pt>
                <c:pt idx="55">
                  <c:v>6111.6242528419043</c:v>
                </c:pt>
                <c:pt idx="56">
                  <c:v>6304.0139361848642</c:v>
                </c:pt>
                <c:pt idx="57">
                  <c:v>6501.2446122618303</c:v>
                </c:pt>
                <c:pt idx="58">
                  <c:v>6702.5228306654781</c:v>
                </c:pt>
                <c:pt idx="59">
                  <c:v>6906.5301863113755</c:v>
                </c:pt>
                <c:pt idx="60">
                  <c:v>7109.4791726113908</c:v>
                </c:pt>
                <c:pt idx="61">
                  <c:v>7311.3153925703818</c:v>
                </c:pt>
                <c:pt idx="62">
                  <c:v>7512.1806540221523</c:v>
                </c:pt>
                <c:pt idx="63">
                  <c:v>7711.789297014001</c:v>
                </c:pt>
                <c:pt idx="64">
                  <c:v>7908.8414601342893</c:v>
                </c:pt>
                <c:pt idx="65">
                  <c:v>8103.5161819879359</c:v>
                </c:pt>
                <c:pt idx="66">
                  <c:v>8294.4674585003886</c:v>
                </c:pt>
                <c:pt idx="67">
                  <c:v>8481.1526524327164</c:v>
                </c:pt>
                <c:pt idx="68">
                  <c:v>8661.5385703678348</c:v>
                </c:pt>
                <c:pt idx="69">
                  <c:v>8835.5454934832705</c:v>
                </c:pt>
                <c:pt idx="70">
                  <c:v>9002.9890621874674</c:v>
                </c:pt>
                <c:pt idx="71">
                  <c:v>9161.1516483523119</c:v>
                </c:pt>
                <c:pt idx="72">
                  <c:v>9310.7132913458499</c:v>
                </c:pt>
                <c:pt idx="73">
                  <c:v>9451.1919071894808</c:v>
                </c:pt>
                <c:pt idx="74">
                  <c:v>9581.0814534073234</c:v>
                </c:pt>
                <c:pt idx="75">
                  <c:v>9700.0694388859665</c:v>
                </c:pt>
                <c:pt idx="76">
                  <c:v>9807.7261848728922</c:v>
                </c:pt>
                <c:pt idx="77">
                  <c:v>9903.950113379924</c:v>
                </c:pt>
                <c:pt idx="78">
                  <c:v>9986.8513187595854</c:v>
                </c:pt>
                <c:pt idx="79">
                  <c:v>10057.23677196085</c:v>
                </c:pt>
                <c:pt idx="80">
                  <c:v>10114.722469341128</c:v>
                </c:pt>
                <c:pt idx="81">
                  <c:v>10158.247083233071</c:v>
                </c:pt>
                <c:pt idx="82">
                  <c:v>10187.686256884104</c:v>
                </c:pt>
                <c:pt idx="83">
                  <c:v>10204.017835551909</c:v>
                </c:pt>
                <c:pt idx="84">
                  <c:v>10206.638131698184</c:v>
                </c:pt>
                <c:pt idx="85">
                  <c:v>10194.579248587939</c:v>
                </c:pt>
                <c:pt idx="86">
                  <c:v>10169.884223290055</c:v>
                </c:pt>
                <c:pt idx="87">
                  <c:v>10132.096963673483</c:v>
                </c:pt>
                <c:pt idx="88">
                  <c:v>10079.137980044037</c:v>
                </c:pt>
                <c:pt idx="89">
                  <c:v>10013.939924979448</c:v>
                </c:pt>
                <c:pt idx="90">
                  <c:v>9936.6889466502071</c:v>
                </c:pt>
                <c:pt idx="91">
                  <c:v>9847.0688784891008</c:v>
                </c:pt>
                <c:pt idx="92">
                  <c:v>9744.119440610757</c:v>
                </c:pt>
                <c:pt idx="93">
                  <c:v>9629.7096549604648</c:v>
                </c:pt>
                <c:pt idx="94">
                  <c:v>9504.7837788229663</c:v>
                </c:pt>
                <c:pt idx="95">
                  <c:v>9369.40036948733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7</c:v>
                </c:pt>
                <c:pt idx="1">
                  <c:v>7</c:v>
                </c:pt>
                <c:pt idx="2">
                  <c:v>7</c:v>
                </c:pt>
                <c:pt idx="3">
                  <c:v>8</c:v>
                </c:pt>
                <c:pt idx="4">
                  <c:v>8</c:v>
                </c:pt>
                <c:pt idx="5">
                  <c:v>9</c:v>
                </c:pt>
                <c:pt idx="6">
                  <c:v>9</c:v>
                </c:pt>
                <c:pt idx="7">
                  <c:v>12</c:v>
                </c:pt>
                <c:pt idx="8">
                  <c:v>12</c:v>
                </c:pt>
                <c:pt idx="9">
                  <c:v>11</c:v>
                </c:pt>
                <c:pt idx="10">
                  <c:v>11</c:v>
                </c:pt>
                <c:pt idx="11">
                  <c:v>13</c:v>
                </c:pt>
                <c:pt idx="12">
                  <c:v>11</c:v>
                </c:pt>
                <c:pt idx="13">
                  <c:v>10</c:v>
                </c:pt>
                <c:pt idx="14">
                  <c:v>15</c:v>
                </c:pt>
                <c:pt idx="15">
                  <c:v>17</c:v>
                </c:pt>
                <c:pt idx="16">
                  <c:v>19</c:v>
                </c:pt>
                <c:pt idx="17">
                  <c:v>26</c:v>
                </c:pt>
                <c:pt idx="18">
                  <c:v>30</c:v>
                </c:pt>
                <c:pt idx="19">
                  <c:v>33</c:v>
                </c:pt>
                <c:pt idx="20">
                  <c:v>41</c:v>
                </c:pt>
                <c:pt idx="21">
                  <c:v>46</c:v>
                </c:pt>
                <c:pt idx="22">
                  <c:v>43</c:v>
                </c:pt>
                <c:pt idx="23">
                  <c:v>45</c:v>
                </c:pt>
                <c:pt idx="24">
                  <c:v>75</c:v>
                </c:pt>
                <c:pt idx="25">
                  <c:v>57</c:v>
                </c:pt>
                <c:pt idx="26">
                  <c:v>57</c:v>
                </c:pt>
                <c:pt idx="27">
                  <c:v>59</c:v>
                </c:pt>
                <c:pt idx="28">
                  <c:v>72</c:v>
                </c:pt>
                <c:pt idx="29">
                  <c:v>66</c:v>
                </c:pt>
                <c:pt idx="30">
                  <c:v>70</c:v>
                </c:pt>
                <c:pt idx="31">
                  <c:v>86</c:v>
                </c:pt>
                <c:pt idx="32">
                  <c:v>77</c:v>
                </c:pt>
                <c:pt idx="33">
                  <c:v>88</c:v>
                </c:pt>
                <c:pt idx="34">
                  <c:v>94</c:v>
                </c:pt>
                <c:pt idx="35">
                  <c:v>106</c:v>
                </c:pt>
                <c:pt idx="36">
                  <c:v>104</c:v>
                </c:pt>
                <c:pt idx="37">
                  <c:v>108</c:v>
                </c:pt>
                <c:pt idx="38">
                  <c:v>128</c:v>
                </c:pt>
                <c:pt idx="39">
                  <c:v>144</c:v>
                </c:pt>
                <c:pt idx="40">
                  <c:v>161</c:v>
                </c:pt>
                <c:pt idx="41">
                  <c:v>168</c:v>
                </c:pt>
                <c:pt idx="42">
                  <c:v>182</c:v>
                </c:pt>
                <c:pt idx="43">
                  <c:v>178</c:v>
                </c:pt>
                <c:pt idx="44">
                  <c:v>183</c:v>
                </c:pt>
                <c:pt idx="45">
                  <c:v>196</c:v>
                </c:pt>
                <c:pt idx="46">
                  <c:v>1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47.82148238334634</c:v>
                </c:pt>
                <c:pt idx="43">
                  <c:v>152.5353032461262</c:v>
                </c:pt>
                <c:pt idx="44">
                  <c:v>157.23785308611014</c:v>
                </c:pt>
                <c:pt idx="45">
                  <c:v>161.74189778004776</c:v>
                </c:pt>
                <c:pt idx="46">
                  <c:v>165.86869091087365</c:v>
                </c:pt>
                <c:pt idx="47">
                  <c:v>169.70902294979896</c:v>
                </c:pt>
                <c:pt idx="48">
                  <c:v>173.43942513201034</c:v>
                </c:pt>
                <c:pt idx="49">
                  <c:v>177.13142109677028</c:v>
                </c:pt>
                <c:pt idx="50">
                  <c:v>180.75940248882728</c:v>
                </c:pt>
                <c:pt idx="51">
                  <c:v>184.52230875764906</c:v>
                </c:pt>
                <c:pt idx="52">
                  <c:v>188.17000767362848</c:v>
                </c:pt>
                <c:pt idx="53">
                  <c:v>191.26133539893686</c:v>
                </c:pt>
                <c:pt idx="54">
                  <c:v>194.0601921549482</c:v>
                </c:pt>
                <c:pt idx="55">
                  <c:v>196.75589776457798</c:v>
                </c:pt>
                <c:pt idx="56">
                  <c:v>199.40958499196267</c:v>
                </c:pt>
                <c:pt idx="57">
                  <c:v>202.05154619755226</c:v>
                </c:pt>
                <c:pt idx="58">
                  <c:v>204.65522314928666</c:v>
                </c:pt>
                <c:pt idx="59">
                  <c:v>207.18984946277064</c:v>
                </c:pt>
                <c:pt idx="60">
                  <c:v>209.52874503044745</c:v>
                </c:pt>
                <c:pt idx="61">
                  <c:v>211.68874907835647</c:v>
                </c:pt>
                <c:pt idx="62">
                  <c:v>213.69930547313282</c:v>
                </c:pt>
                <c:pt idx="63">
                  <c:v>215.57416955343257</c:v>
                </c:pt>
                <c:pt idx="64">
                  <c:v>217.2929433758037</c:v>
                </c:pt>
                <c:pt idx="65">
                  <c:v>218.89021570811104</c:v>
                </c:pt>
                <c:pt idx="66">
                  <c:v>220.33789397500098</c:v>
                </c:pt>
                <c:pt idx="67">
                  <c:v>221.64455688151051</c:v>
                </c:pt>
                <c:pt idx="68">
                  <c:v>222.75520688736754</c:v>
                </c:pt>
                <c:pt idx="69">
                  <c:v>223.69596382627475</c:v>
                </c:pt>
                <c:pt idx="70">
                  <c:v>224.48439776574162</c:v>
                </c:pt>
                <c:pt idx="71">
                  <c:v>225.04403142051711</c:v>
                </c:pt>
                <c:pt idx="72">
                  <c:v>225.428012341152</c:v>
                </c:pt>
                <c:pt idx="73">
                  <c:v>225.64429091831954</c:v>
                </c:pt>
                <c:pt idx="74">
                  <c:v>225.66184924859911</c:v>
                </c:pt>
                <c:pt idx="75">
                  <c:v>225.48986238226519</c:v>
                </c:pt>
                <c:pt idx="76">
                  <c:v>225.1357340642478</c:v>
                </c:pt>
                <c:pt idx="77">
                  <c:v>224.61217804381985</c:v>
                </c:pt>
                <c:pt idx="78">
                  <c:v>223.86855527790325</c:v>
                </c:pt>
                <c:pt idx="79">
                  <c:v>222.94969846445954</c:v>
                </c:pt>
                <c:pt idx="80">
                  <c:v>221.85865783058699</c:v>
                </c:pt>
                <c:pt idx="81">
                  <c:v>220.571040247714</c:v>
                </c:pt>
                <c:pt idx="82">
                  <c:v>219.0888631928037</c:v>
                </c:pt>
                <c:pt idx="83">
                  <c:v>217.45885200414978</c:v>
                </c:pt>
                <c:pt idx="84">
                  <c:v>215.66404532202699</c:v>
                </c:pt>
                <c:pt idx="85">
                  <c:v>213.67023094960484</c:v>
                </c:pt>
                <c:pt idx="86">
                  <c:v>211.55678398525248</c:v>
                </c:pt>
                <c:pt idx="87">
                  <c:v>209.3075829805158</c:v>
                </c:pt>
                <c:pt idx="88">
                  <c:v>206.8488740107868</c:v>
                </c:pt>
                <c:pt idx="89">
                  <c:v>204.28034207337626</c:v>
                </c:pt>
                <c:pt idx="90">
                  <c:v>201.60394326145675</c:v>
                </c:pt>
                <c:pt idx="91">
                  <c:v>198.80051195738224</c:v>
                </c:pt>
                <c:pt idx="92">
                  <c:v>195.83087373490849</c:v>
                </c:pt>
                <c:pt idx="93">
                  <c:v>192.75040803310199</c:v>
                </c:pt>
                <c:pt idx="94">
                  <c:v>189.58339801863292</c:v>
                </c:pt>
                <c:pt idx="95">
                  <c:v>186.317624214935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48.15621189057009</c:v>
                </c:pt>
                <c:pt idx="43">
                  <c:v>153.32474482362593</c:v>
                </c:pt>
                <c:pt idx="44">
                  <c:v>158.61104725285719</c:v>
                </c:pt>
                <c:pt idx="45">
                  <c:v>163.83175679261427</c:v>
                </c:pt>
                <c:pt idx="46">
                  <c:v>168.81469666341908</c:v>
                </c:pt>
                <c:pt idx="47">
                  <c:v>173.65064119948948</c:v>
                </c:pt>
                <c:pt idx="48">
                  <c:v>178.51832498719574</c:v>
                </c:pt>
                <c:pt idx="49">
                  <c:v>183.48616800647716</c:v>
                </c:pt>
                <c:pt idx="50">
                  <c:v>188.52824752198302</c:v>
                </c:pt>
                <c:pt idx="51">
                  <c:v>193.83938978491256</c:v>
                </c:pt>
                <c:pt idx="52">
                  <c:v>199.16740016294199</c:v>
                </c:pt>
                <c:pt idx="53">
                  <c:v>204.06594596267681</c:v>
                </c:pt>
                <c:pt idx="54">
                  <c:v>208.79461318216087</c:v>
                </c:pt>
                <c:pt idx="55">
                  <c:v>213.53584512679899</c:v>
                </c:pt>
                <c:pt idx="56">
                  <c:v>218.34057482191008</c:v>
                </c:pt>
                <c:pt idx="57">
                  <c:v>223.21964182043959</c:v>
                </c:pt>
                <c:pt idx="58">
                  <c:v>228.14041237107921</c:v>
                </c:pt>
                <c:pt idx="59">
                  <c:v>233.06282392800699</c:v>
                </c:pt>
                <c:pt idx="60">
                  <c:v>237.85394635209826</c:v>
                </c:pt>
                <c:pt idx="61">
                  <c:v>242.51788013560594</c:v>
                </c:pt>
                <c:pt idx="62">
                  <c:v>247.07470238246384</c:v>
                </c:pt>
                <c:pt idx="63">
                  <c:v>251.52667839607884</c:v>
                </c:pt>
                <c:pt idx="64">
                  <c:v>255.84012082619876</c:v>
                </c:pt>
                <c:pt idx="65">
                  <c:v>260.03759300338436</c:v>
                </c:pt>
                <c:pt idx="66">
                  <c:v>264.08128162647415</c:v>
                </c:pt>
                <c:pt idx="67">
                  <c:v>267.9684292020296</c:v>
                </c:pt>
                <c:pt idx="68">
                  <c:v>271.63390803755988</c:v>
                </c:pt>
                <c:pt idx="69">
                  <c:v>275.09330878350278</c:v>
                </c:pt>
                <c:pt idx="70">
                  <c:v>278.35321641980363</c:v>
                </c:pt>
                <c:pt idx="71">
                  <c:v>281.32671393356401</c:v>
                </c:pt>
                <c:pt idx="72">
                  <c:v>284.05611577139285</c:v>
                </c:pt>
                <c:pt idx="73">
                  <c:v>286.54008678780474</c:v>
                </c:pt>
                <c:pt idx="74">
                  <c:v>288.73855251669255</c:v>
                </c:pt>
                <c:pt idx="75">
                  <c:v>290.65196670489695</c:v>
                </c:pt>
                <c:pt idx="76">
                  <c:v>292.27954889090898</c:v>
                </c:pt>
                <c:pt idx="77">
                  <c:v>293.62702211435942</c:v>
                </c:pt>
                <c:pt idx="78">
                  <c:v>294.63675705169516</c:v>
                </c:pt>
                <c:pt idx="79">
                  <c:v>295.34775116374152</c:v>
                </c:pt>
                <c:pt idx="80">
                  <c:v>295.75775422401659</c:v>
                </c:pt>
                <c:pt idx="81">
                  <c:v>295.8378081456442</c:v>
                </c:pt>
                <c:pt idx="82">
                  <c:v>295.5858464318664</c:v>
                </c:pt>
                <c:pt idx="83">
                  <c:v>295.04572653736136</c:v>
                </c:pt>
                <c:pt idx="84">
                  <c:v>294.19821896612081</c:v>
                </c:pt>
                <c:pt idx="85">
                  <c:v>293.00761663919582</c:v>
                </c:pt>
                <c:pt idx="86">
                  <c:v>291.55256445292684</c:v>
                </c:pt>
                <c:pt idx="87">
                  <c:v>289.8169460318295</c:v>
                </c:pt>
                <c:pt idx="88">
                  <c:v>287.7274495548329</c:v>
                </c:pt>
                <c:pt idx="89">
                  <c:v>285.38534072028892</c:v>
                </c:pt>
                <c:pt idx="90">
                  <c:v>282.79436331012641</c:v>
                </c:pt>
                <c:pt idx="91">
                  <c:v>279.93793985295122</c:v>
                </c:pt>
                <c:pt idx="92">
                  <c:v>276.77637640994988</c:v>
                </c:pt>
                <c:pt idx="93">
                  <c:v>273.37125189094075</c:v>
                </c:pt>
                <c:pt idx="94">
                  <c:v>269.75099704552554</c:v>
                </c:pt>
                <c:pt idx="95">
                  <c:v>265.908006168256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48.49307784008079</c:v>
                </c:pt>
                <c:pt idx="43">
                  <c:v>154.12180573835602</c:v>
                </c:pt>
                <c:pt idx="44">
                  <c:v>160.00282929438745</c:v>
                </c:pt>
                <c:pt idx="45">
                  <c:v>165.95911759955357</c:v>
                </c:pt>
                <c:pt idx="46">
                  <c:v>171.82778858343409</c:v>
                </c:pt>
                <c:pt idx="47">
                  <c:v>177.7024926011361</c:v>
                </c:pt>
                <c:pt idx="48">
                  <c:v>183.76719428793754</c:v>
                </c:pt>
                <c:pt idx="49">
                  <c:v>190.09027894705306</c:v>
                </c:pt>
                <c:pt idx="50">
                  <c:v>196.64857051113268</c:v>
                </c:pt>
                <c:pt idx="51">
                  <c:v>203.63575442392204</c:v>
                </c:pt>
                <c:pt idx="52">
                  <c:v>210.80040838991647</c:v>
                </c:pt>
                <c:pt idx="53">
                  <c:v>217.69363152006275</c:v>
                </c:pt>
                <c:pt idx="54">
                  <c:v>224.57301939893358</c:v>
                </c:pt>
                <c:pt idx="55">
                  <c:v>231.61611423124907</c:v>
                </c:pt>
                <c:pt idx="56">
                  <c:v>238.86523273622765</c:v>
                </c:pt>
                <c:pt idx="57">
                  <c:v>246.31282183939504</c:v>
                </c:pt>
                <c:pt idx="58">
                  <c:v>253.92076409716663</c:v>
                </c:pt>
                <c:pt idx="59">
                  <c:v>261.63974902403345</c:v>
                </c:pt>
                <c:pt idx="60">
                  <c:v>269.33006019177242</c:v>
                </c:pt>
                <c:pt idx="61">
                  <c:v>276.98189119257711</c:v>
                </c:pt>
                <c:pt idx="62">
                  <c:v>284.60416505710253</c:v>
                </c:pt>
                <c:pt idx="63">
                  <c:v>292.18525051437052</c:v>
                </c:pt>
                <c:pt idx="64">
                  <c:v>299.67514589717382</c:v>
                </c:pt>
                <c:pt idx="65">
                  <c:v>307.08083633417414</c:v>
                </c:pt>
                <c:pt idx="66">
                  <c:v>314.35074295149661</c:v>
                </c:pt>
                <c:pt idx="67">
                  <c:v>321.46617572900561</c:v>
                </c:pt>
                <c:pt idx="68">
                  <c:v>328.34680698002745</c:v>
                </c:pt>
                <c:pt idx="69">
                  <c:v>334.99221264670541</c:v>
                </c:pt>
                <c:pt idx="70">
                  <c:v>341.39216723454302</c:v>
                </c:pt>
                <c:pt idx="71">
                  <c:v>347.44322382712699</c:v>
                </c:pt>
                <c:pt idx="72">
                  <c:v>353.17061358534943</c:v>
                </c:pt>
                <c:pt idx="73">
                  <c:v>358.55738617820714</c:v>
                </c:pt>
                <c:pt idx="74">
                  <c:v>363.54806523610034</c:v>
                </c:pt>
                <c:pt idx="75">
                  <c:v>368.12810662699212</c:v>
                </c:pt>
                <c:pt idx="76">
                  <c:v>372.28242576836925</c:v>
                </c:pt>
                <c:pt idx="77">
                  <c:v>376.00387937135577</c:v>
                </c:pt>
                <c:pt idx="78">
                  <c:v>379.22229584986826</c:v>
                </c:pt>
                <c:pt idx="79">
                  <c:v>381.96568736762435</c:v>
                </c:pt>
                <c:pt idx="80">
                  <c:v>384.22181860615046</c:v>
                </c:pt>
                <c:pt idx="81">
                  <c:v>385.95300818739116</c:v>
                </c:pt>
                <c:pt idx="82">
                  <c:v>387.14952752104648</c:v>
                </c:pt>
                <c:pt idx="83">
                  <c:v>387.84941531964745</c:v>
                </c:pt>
                <c:pt idx="84">
                  <c:v>388.02888363084855</c:v>
                </c:pt>
                <c:pt idx="85">
                  <c:v>387.6491239687079</c:v>
                </c:pt>
                <c:pt idx="86">
                  <c:v>386.78714089533219</c:v>
                </c:pt>
                <c:pt idx="87">
                  <c:v>385.4266099725325</c:v>
                </c:pt>
                <c:pt idx="88">
                  <c:v>383.49513601438355</c:v>
                </c:pt>
                <c:pt idx="89">
                  <c:v>381.09671361471015</c:v>
                </c:pt>
                <c:pt idx="90">
                  <c:v>378.23866763593384</c:v>
                </c:pt>
                <c:pt idx="91">
                  <c:v>374.9094143654529</c:v>
                </c:pt>
                <c:pt idx="92">
                  <c:v>371.07169280540847</c:v>
                </c:pt>
                <c:pt idx="93">
                  <c:v>366.79676371717551</c:v>
                </c:pt>
                <c:pt idx="94">
                  <c:v>362.12114425066602</c:v>
                </c:pt>
                <c:pt idx="95">
                  <c:v>357.046185481089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7</c:v>
                </c:pt>
                <c:pt idx="1">
                  <c:v>5</c:v>
                </c:pt>
                <c:pt idx="2">
                  <c:v>4</c:v>
                </c:pt>
                <c:pt idx="3">
                  <c:v>4</c:v>
                </c:pt>
                <c:pt idx="4">
                  <c:v>5</c:v>
                </c:pt>
                <c:pt idx="5">
                  <c:v>4</c:v>
                </c:pt>
                <c:pt idx="6">
                  <c:v>6</c:v>
                </c:pt>
                <c:pt idx="7">
                  <c:v>5</c:v>
                </c:pt>
                <c:pt idx="8">
                  <c:v>5</c:v>
                </c:pt>
                <c:pt idx="9">
                  <c:v>4</c:v>
                </c:pt>
                <c:pt idx="10">
                  <c:v>7</c:v>
                </c:pt>
                <c:pt idx="11">
                  <c:v>8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2</c:v>
                </c:pt>
                <c:pt idx="16">
                  <c:v>9</c:v>
                </c:pt>
                <c:pt idx="17">
                  <c:v>11</c:v>
                </c:pt>
                <c:pt idx="18">
                  <c:v>13</c:v>
                </c:pt>
                <c:pt idx="19">
                  <c:v>16</c:v>
                </c:pt>
                <c:pt idx="20">
                  <c:v>22</c:v>
                </c:pt>
                <c:pt idx="21">
                  <c:v>31</c:v>
                </c:pt>
                <c:pt idx="22">
                  <c:v>31</c:v>
                </c:pt>
                <c:pt idx="23">
                  <c:v>32</c:v>
                </c:pt>
                <c:pt idx="24">
                  <c:v>39</c:v>
                </c:pt>
                <c:pt idx="25">
                  <c:v>47</c:v>
                </c:pt>
                <c:pt idx="26">
                  <c:v>49</c:v>
                </c:pt>
                <c:pt idx="27">
                  <c:v>59</c:v>
                </c:pt>
                <c:pt idx="28">
                  <c:v>79</c:v>
                </c:pt>
                <c:pt idx="29">
                  <c:v>75</c:v>
                </c:pt>
                <c:pt idx="30">
                  <c:v>75</c:v>
                </c:pt>
                <c:pt idx="31">
                  <c:v>87</c:v>
                </c:pt>
                <c:pt idx="32">
                  <c:v>84</c:v>
                </c:pt>
                <c:pt idx="33">
                  <c:v>98</c:v>
                </c:pt>
                <c:pt idx="34">
                  <c:v>101</c:v>
                </c:pt>
                <c:pt idx="35">
                  <c:v>113</c:v>
                </c:pt>
                <c:pt idx="36">
                  <c:v>112</c:v>
                </c:pt>
                <c:pt idx="37">
                  <c:v>119</c:v>
                </c:pt>
                <c:pt idx="38">
                  <c:v>139</c:v>
                </c:pt>
                <c:pt idx="39">
                  <c:v>142</c:v>
                </c:pt>
                <c:pt idx="40">
                  <c:v>152</c:v>
                </c:pt>
                <c:pt idx="41">
                  <c:v>158</c:v>
                </c:pt>
                <c:pt idx="42">
                  <c:v>166</c:v>
                </c:pt>
                <c:pt idx="43">
                  <c:v>181</c:v>
                </c:pt>
                <c:pt idx="44">
                  <c:v>186</c:v>
                </c:pt>
                <c:pt idx="45">
                  <c:v>199</c:v>
                </c:pt>
                <c:pt idx="46">
                  <c:v>1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52.63175837355084</c:v>
                </c:pt>
                <c:pt idx="43">
                  <c:v>158.3022636393888</c:v>
                </c:pt>
                <c:pt idx="44">
                  <c:v>163.94619479786445</c:v>
                </c:pt>
                <c:pt idx="45">
                  <c:v>169.41663533855407</c:v>
                </c:pt>
                <c:pt idx="46">
                  <c:v>174.59678488724688</c:v>
                </c:pt>
                <c:pt idx="47">
                  <c:v>179.4983808588911</c:v>
                </c:pt>
                <c:pt idx="48">
                  <c:v>184.19083342324586</c:v>
                </c:pt>
                <c:pt idx="49">
                  <c:v>188.75955295303493</c:v>
                </c:pt>
                <c:pt idx="50">
                  <c:v>193.2136945819467</c:v>
                </c:pt>
                <c:pt idx="51">
                  <c:v>197.71036600626121</c:v>
                </c:pt>
                <c:pt idx="52">
                  <c:v>202.00072096586459</c:v>
                </c:pt>
                <c:pt idx="53">
                  <c:v>205.71656188252967</c:v>
                </c:pt>
                <c:pt idx="54">
                  <c:v>209.14366001929045</c:v>
                </c:pt>
                <c:pt idx="55">
                  <c:v>212.38942843546369</c:v>
                </c:pt>
                <c:pt idx="56">
                  <c:v>215.51605302622647</c:v>
                </c:pt>
                <c:pt idx="57">
                  <c:v>218.51640698565939</c:v>
                </c:pt>
                <c:pt idx="58">
                  <c:v>221.43534493398971</c:v>
                </c:pt>
                <c:pt idx="59">
                  <c:v>224.23544294591528</c:v>
                </c:pt>
                <c:pt idx="60">
                  <c:v>226.74727175166618</c:v>
                </c:pt>
                <c:pt idx="61">
                  <c:v>229.059261555852</c:v>
                </c:pt>
                <c:pt idx="62">
                  <c:v>231.17382172509588</c:v>
                </c:pt>
                <c:pt idx="63">
                  <c:v>233.11107453466386</c:v>
                </c:pt>
                <c:pt idx="64">
                  <c:v>234.8598360539026</c:v>
                </c:pt>
                <c:pt idx="65">
                  <c:v>236.45439533958523</c:v>
                </c:pt>
                <c:pt idx="66">
                  <c:v>237.8693928788455</c:v>
                </c:pt>
                <c:pt idx="67">
                  <c:v>239.09700415666492</c:v>
                </c:pt>
                <c:pt idx="68">
                  <c:v>240.10583455552953</c:v>
                </c:pt>
                <c:pt idx="69">
                  <c:v>240.90078620970496</c:v>
                </c:pt>
                <c:pt idx="70">
                  <c:v>241.52874265870872</c:v>
                </c:pt>
                <c:pt idx="71">
                  <c:v>241.90975010487489</c:v>
                </c:pt>
                <c:pt idx="72">
                  <c:v>242.10488983344322</c:v>
                </c:pt>
                <c:pt idx="73">
                  <c:v>242.1112080308784</c:v>
                </c:pt>
                <c:pt idx="74">
                  <c:v>241.8775935497294</c:v>
                </c:pt>
                <c:pt idx="75">
                  <c:v>241.43611769193421</c:v>
                </c:pt>
                <c:pt idx="76">
                  <c:v>240.78191041759464</c:v>
                </c:pt>
                <c:pt idx="77">
                  <c:v>239.95627119872705</c:v>
                </c:pt>
                <c:pt idx="78">
                  <c:v>238.88900248313772</c:v>
                </c:pt>
                <c:pt idx="79">
                  <c:v>237.64915360413966</c:v>
                </c:pt>
                <c:pt idx="80">
                  <c:v>236.21673558268714</c:v>
                </c:pt>
                <c:pt idx="81">
                  <c:v>234.53973154862518</c:v>
                </c:pt>
                <c:pt idx="82">
                  <c:v>232.66275842410573</c:v>
                </c:pt>
                <c:pt idx="83">
                  <c:v>230.62499037900278</c:v>
                </c:pt>
                <c:pt idx="84">
                  <c:v>228.41324733404059</c:v>
                </c:pt>
                <c:pt idx="85">
                  <c:v>226.00641635371653</c:v>
                </c:pt>
                <c:pt idx="86">
                  <c:v>223.49218175757079</c:v>
                </c:pt>
                <c:pt idx="87">
                  <c:v>220.84175197399929</c:v>
                </c:pt>
                <c:pt idx="88">
                  <c:v>217.91532788545072</c:v>
                </c:pt>
                <c:pt idx="89">
                  <c:v>214.88280198852476</c:v>
                </c:pt>
                <c:pt idx="90">
                  <c:v>211.74210488187657</c:v>
                </c:pt>
                <c:pt idx="91">
                  <c:v>208.4668753181428</c:v>
                </c:pt>
                <c:pt idx="92">
                  <c:v>205.02624444940193</c:v>
                </c:pt>
                <c:pt idx="93">
                  <c:v>201.47144878271524</c:v>
                </c:pt>
                <c:pt idx="94">
                  <c:v>197.82132299062408</c:v>
                </c:pt>
                <c:pt idx="95">
                  <c:v>194.069346282295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53.03540240539746</c:v>
                </c:pt>
                <c:pt idx="43">
                  <c:v>159.25491553351179</c:v>
                </c:pt>
                <c:pt idx="44">
                  <c:v>165.60018052498</c:v>
                </c:pt>
                <c:pt idx="45">
                  <c:v>171.92552467870553</c:v>
                </c:pt>
                <c:pt idx="46">
                  <c:v>178.12228718101511</c:v>
                </c:pt>
                <c:pt idx="47">
                  <c:v>184.19909688100267</c:v>
                </c:pt>
                <c:pt idx="48">
                  <c:v>190.22616871503715</c:v>
                </c:pt>
                <c:pt idx="49">
                  <c:v>196.28381907172917</c:v>
                </c:pt>
                <c:pt idx="50">
                  <c:v>202.37902529750275</c:v>
                </c:pt>
                <c:pt idx="51">
                  <c:v>208.66230158272703</c:v>
                </c:pt>
                <c:pt idx="52">
                  <c:v>214.87971959808962</c:v>
                </c:pt>
                <c:pt idx="53">
                  <c:v>220.65663025187808</c:v>
                </c:pt>
                <c:pt idx="54">
                  <c:v>226.27368781337057</c:v>
                </c:pt>
                <c:pt idx="55">
                  <c:v>231.82720096141773</c:v>
                </c:pt>
                <c:pt idx="56">
                  <c:v>237.36598729246808</c:v>
                </c:pt>
                <c:pt idx="57">
                  <c:v>242.86224998339583</c:v>
                </c:pt>
                <c:pt idx="58">
                  <c:v>248.35344336398913</c:v>
                </c:pt>
                <c:pt idx="59">
                  <c:v>253.79126721618559</c:v>
                </c:pt>
                <c:pt idx="60">
                  <c:v>258.99829088050586</c:v>
                </c:pt>
                <c:pt idx="61">
                  <c:v>264.04885943231159</c:v>
                </c:pt>
                <c:pt idx="62">
                  <c:v>268.93448514577403</c:v>
                </c:pt>
                <c:pt idx="63">
                  <c:v>273.66407927112738</c:v>
                </c:pt>
                <c:pt idx="64">
                  <c:v>278.21000769291192</c:v>
                </c:pt>
                <c:pt idx="65">
                  <c:v>282.59454362924157</c:v>
                </c:pt>
                <c:pt idx="66">
                  <c:v>286.78185208511235</c:v>
                </c:pt>
                <c:pt idx="67">
                  <c:v>290.75218445134846</c:v>
                </c:pt>
                <c:pt idx="68">
                  <c:v>294.4635692220894</c:v>
                </c:pt>
                <c:pt idx="69">
                  <c:v>297.90977923300784</c:v>
                </c:pt>
                <c:pt idx="70">
                  <c:v>301.12641029556158</c:v>
                </c:pt>
                <c:pt idx="71">
                  <c:v>304.02245535068857</c:v>
                </c:pt>
                <c:pt idx="72">
                  <c:v>306.64806444147285</c:v>
                </c:pt>
                <c:pt idx="73">
                  <c:v>308.99004967183652</c:v>
                </c:pt>
                <c:pt idx="74">
                  <c:v>310.98883100036352</c:v>
                </c:pt>
                <c:pt idx="75">
                  <c:v>312.66785672394803</c:v>
                </c:pt>
                <c:pt idx="76">
                  <c:v>314.01427244107242</c:v>
                </c:pt>
                <c:pt idx="77">
                  <c:v>315.06250771084808</c:v>
                </c:pt>
                <c:pt idx="78">
                  <c:v>315.73545981660362</c:v>
                </c:pt>
                <c:pt idx="79">
                  <c:v>316.09690994816549</c:v>
                </c:pt>
                <c:pt idx="80">
                  <c:v>316.12206161637852</c:v>
                </c:pt>
                <c:pt idx="81">
                  <c:v>315.75490611028056</c:v>
                </c:pt>
                <c:pt idx="82">
                  <c:v>315.03637635581379</c:v>
                </c:pt>
                <c:pt idx="83">
                  <c:v>314.00363515353592</c:v>
                </c:pt>
                <c:pt idx="84">
                  <c:v>312.64199062916157</c:v>
                </c:pt>
                <c:pt idx="85">
                  <c:v>310.92964191924523</c:v>
                </c:pt>
                <c:pt idx="86">
                  <c:v>308.95439425419403</c:v>
                </c:pt>
                <c:pt idx="87">
                  <c:v>306.68834599093191</c:v>
                </c:pt>
                <c:pt idx="88">
                  <c:v>303.99280724961159</c:v>
                </c:pt>
                <c:pt idx="89">
                  <c:v>301.04033031590399</c:v>
                </c:pt>
                <c:pt idx="90">
                  <c:v>297.83131956135514</c:v>
                </c:pt>
                <c:pt idx="91">
                  <c:v>294.34283925937973</c:v>
                </c:pt>
                <c:pt idx="92">
                  <c:v>290.54108464598022</c:v>
                </c:pt>
                <c:pt idx="93">
                  <c:v>286.48647647143156</c:v>
                </c:pt>
                <c:pt idx="94">
                  <c:v>282.20271947502374</c:v>
                </c:pt>
                <c:pt idx="95">
                  <c:v>277.68861315199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53.44158383456545</c:v>
                </c:pt>
                <c:pt idx="43">
                  <c:v>160.21666307083609</c:v>
                </c:pt>
                <c:pt idx="44">
                  <c:v>167.27639862423052</c:v>
                </c:pt>
                <c:pt idx="45">
                  <c:v>174.47927316421618</c:v>
                </c:pt>
                <c:pt idx="46">
                  <c:v>181.72796756742827</c:v>
                </c:pt>
                <c:pt idx="47">
                  <c:v>189.03134886305139</c:v>
                </c:pt>
                <c:pt idx="48">
                  <c:v>196.46389709742985</c:v>
                </c:pt>
                <c:pt idx="49">
                  <c:v>204.10429623526363</c:v>
                </c:pt>
                <c:pt idx="50">
                  <c:v>211.96073941790803</c:v>
                </c:pt>
                <c:pt idx="51">
                  <c:v>220.18037782477455</c:v>
                </c:pt>
                <c:pt idx="52">
                  <c:v>228.50720279609041</c:v>
                </c:pt>
                <c:pt idx="53">
                  <c:v>236.56278801531607</c:v>
                </c:pt>
                <c:pt idx="54">
                  <c:v>244.6249732434303</c:v>
                </c:pt>
                <c:pt idx="55">
                  <c:v>252.78080012550578</c:v>
                </c:pt>
                <c:pt idx="56">
                  <c:v>261.06706209219453</c:v>
                </c:pt>
                <c:pt idx="57">
                  <c:v>269.43600938255861</c:v>
                </c:pt>
                <c:pt idx="58">
                  <c:v>277.91785030521544</c:v>
                </c:pt>
                <c:pt idx="59">
                  <c:v>286.45293321325619</c:v>
                </c:pt>
                <c:pt idx="60">
                  <c:v>294.85467850159949</c:v>
                </c:pt>
                <c:pt idx="61">
                  <c:v>303.18149188754876</c:v>
                </c:pt>
                <c:pt idx="62">
                  <c:v>311.41144513659299</c:v>
                </c:pt>
                <c:pt idx="63">
                  <c:v>319.53903107748522</c:v>
                </c:pt>
                <c:pt idx="64">
                  <c:v>327.5162819777949</c:v>
                </c:pt>
                <c:pt idx="65">
                  <c:v>335.3490367416814</c:v>
                </c:pt>
                <c:pt idx="66">
                  <c:v>342.98607607918416</c:v>
                </c:pt>
                <c:pt idx="67">
                  <c:v>350.390274481679</c:v>
                </c:pt>
                <c:pt idx="68">
                  <c:v>357.50318231442679</c:v>
                </c:pt>
                <c:pt idx="69">
                  <c:v>364.30116268397012</c:v>
                </c:pt>
                <c:pt idx="70">
                  <c:v>370.80195487802609</c:v>
                </c:pt>
                <c:pt idx="71">
                  <c:v>376.89672125903007</c:v>
                </c:pt>
                <c:pt idx="72">
                  <c:v>382.61782348670408</c:v>
                </c:pt>
                <c:pt idx="73">
                  <c:v>387.93498823302116</c:v>
                </c:pt>
                <c:pt idx="74">
                  <c:v>392.77340107933048</c:v>
                </c:pt>
                <c:pt idx="75">
                  <c:v>397.14129417621496</c:v>
                </c:pt>
                <c:pt idx="76">
                  <c:v>401.01150375124655</c:v>
                </c:pt>
                <c:pt idx="77">
                  <c:v>404.40562390522223</c:v>
                </c:pt>
                <c:pt idx="78">
                  <c:v>407.23412020218808</c:v>
                </c:pt>
                <c:pt idx="79">
                  <c:v>409.550497947959</c:v>
                </c:pt>
                <c:pt idx="80">
                  <c:v>411.32072445389173</c:v>
                </c:pt>
                <c:pt idx="81">
                  <c:v>412.48100662207128</c:v>
                </c:pt>
                <c:pt idx="82">
                  <c:v>413.06548290016485</c:v>
                </c:pt>
                <c:pt idx="83">
                  <c:v>413.10691715946587</c:v>
                </c:pt>
                <c:pt idx="84">
                  <c:v>412.58746436349259</c:v>
                </c:pt>
                <c:pt idx="85">
                  <c:v>411.48375349684852</c:v>
                </c:pt>
                <c:pt idx="86">
                  <c:v>409.88358865234352</c:v>
                </c:pt>
                <c:pt idx="87">
                  <c:v>407.76058419130061</c:v>
                </c:pt>
                <c:pt idx="88">
                  <c:v>404.97850985349982</c:v>
                </c:pt>
                <c:pt idx="89">
                  <c:v>401.71462742505253</c:v>
                </c:pt>
                <c:pt idx="90">
                  <c:v>397.97451931376497</c:v>
                </c:pt>
                <c:pt idx="91">
                  <c:v>393.74198966642393</c:v>
                </c:pt>
                <c:pt idx="92">
                  <c:v>388.98412375351768</c:v>
                </c:pt>
                <c:pt idx="93">
                  <c:v>383.77486382016684</c:v>
                </c:pt>
                <c:pt idx="94">
                  <c:v>378.14753192911775</c:v>
                </c:pt>
                <c:pt idx="95">
                  <c:v>372.111348802057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0</c:v>
                </c:pt>
                <c:pt idx="1">
                  <c:v>37</c:v>
                </c:pt>
                <c:pt idx="2">
                  <c:v>42</c:v>
                </c:pt>
                <c:pt idx="3">
                  <c:v>47</c:v>
                </c:pt>
                <c:pt idx="4">
                  <c:v>54</c:v>
                </c:pt>
                <c:pt idx="5">
                  <c:v>62</c:v>
                </c:pt>
                <c:pt idx="6">
                  <c:v>57</c:v>
                </c:pt>
                <c:pt idx="7">
                  <c:v>66</c:v>
                </c:pt>
                <c:pt idx="8">
                  <c:v>62</c:v>
                </c:pt>
                <c:pt idx="9">
                  <c:v>67</c:v>
                </c:pt>
                <c:pt idx="10">
                  <c:v>91</c:v>
                </c:pt>
                <c:pt idx="11">
                  <c:v>96</c:v>
                </c:pt>
                <c:pt idx="12">
                  <c:v>98</c:v>
                </c:pt>
                <c:pt idx="13">
                  <c:v>102</c:v>
                </c:pt>
                <c:pt idx="14">
                  <c:v>112</c:v>
                </c:pt>
                <c:pt idx="15">
                  <c:v>109</c:v>
                </c:pt>
                <c:pt idx="16">
                  <c:v>117</c:v>
                </c:pt>
                <c:pt idx="17">
                  <c:v>140</c:v>
                </c:pt>
                <c:pt idx="18">
                  <c:v>150</c:v>
                </c:pt>
                <c:pt idx="19">
                  <c:v>156</c:v>
                </c:pt>
                <c:pt idx="20">
                  <c:v>159</c:v>
                </c:pt>
                <c:pt idx="21">
                  <c:v>165</c:v>
                </c:pt>
                <c:pt idx="22">
                  <c:v>169</c:v>
                </c:pt>
                <c:pt idx="23">
                  <c:v>183</c:v>
                </c:pt>
                <c:pt idx="24">
                  <c:v>224</c:v>
                </c:pt>
                <c:pt idx="25">
                  <c:v>253</c:v>
                </c:pt>
                <c:pt idx="26">
                  <c:v>286</c:v>
                </c:pt>
                <c:pt idx="27">
                  <c:v>279</c:v>
                </c:pt>
                <c:pt idx="28">
                  <c:v>328</c:v>
                </c:pt>
                <c:pt idx="29">
                  <c:v>303</c:v>
                </c:pt>
                <c:pt idx="30">
                  <c:v>327</c:v>
                </c:pt>
                <c:pt idx="31">
                  <c:v>404</c:v>
                </c:pt>
                <c:pt idx="32">
                  <c:v>430</c:v>
                </c:pt>
                <c:pt idx="33">
                  <c:v>465</c:v>
                </c:pt>
                <c:pt idx="34">
                  <c:v>499</c:v>
                </c:pt>
                <c:pt idx="35">
                  <c:v>503</c:v>
                </c:pt>
                <c:pt idx="36">
                  <c:v>497</c:v>
                </c:pt>
                <c:pt idx="37">
                  <c:v>540</c:v>
                </c:pt>
                <c:pt idx="38">
                  <c:v>606</c:v>
                </c:pt>
                <c:pt idx="39">
                  <c:v>642</c:v>
                </c:pt>
                <c:pt idx="40">
                  <c:v>663</c:v>
                </c:pt>
                <c:pt idx="41">
                  <c:v>691</c:v>
                </c:pt>
                <c:pt idx="42">
                  <c:v>698</c:v>
                </c:pt>
                <c:pt idx="43">
                  <c:v>681</c:v>
                </c:pt>
                <c:pt idx="44">
                  <c:v>685</c:v>
                </c:pt>
                <c:pt idx="45">
                  <c:v>759</c:v>
                </c:pt>
                <c:pt idx="46">
                  <c:v>7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691.30639633086264</c:v>
                </c:pt>
                <c:pt idx="43">
                  <c:v>713.43315999134541</c:v>
                </c:pt>
                <c:pt idx="44">
                  <c:v>735.50568916076668</c:v>
                </c:pt>
                <c:pt idx="45">
                  <c:v>756.65309477236042</c:v>
                </c:pt>
                <c:pt idx="46">
                  <c:v>776.04636038195224</c:v>
                </c:pt>
                <c:pt idx="47">
                  <c:v>794.10171148037216</c:v>
                </c:pt>
                <c:pt idx="48">
                  <c:v>811.6332026668648</c:v>
                </c:pt>
                <c:pt idx="49">
                  <c:v>828.97650304361241</c:v>
                </c:pt>
                <c:pt idx="50">
                  <c:v>846.01548406841675</c:v>
                </c:pt>
                <c:pt idx="51">
                  <c:v>863.67558292068452</c:v>
                </c:pt>
                <c:pt idx="52">
                  <c:v>880.78798545623408</c:v>
                </c:pt>
                <c:pt idx="53">
                  <c:v>895.29844185713057</c:v>
                </c:pt>
                <c:pt idx="54">
                  <c:v>908.44247127461813</c:v>
                </c:pt>
                <c:pt idx="55">
                  <c:v>921.09646618053853</c:v>
                </c:pt>
                <c:pt idx="56">
                  <c:v>933.54622637210059</c:v>
                </c:pt>
                <c:pt idx="57">
                  <c:v>945.92949921554555</c:v>
                </c:pt>
                <c:pt idx="58">
                  <c:v>958.12945676455718</c:v>
                </c:pt>
                <c:pt idx="59">
                  <c:v>970.00163884913627</c:v>
                </c:pt>
                <c:pt idx="60">
                  <c:v>980.94966801804958</c:v>
                </c:pt>
                <c:pt idx="61">
                  <c:v>991.05954426067251</c:v>
                </c:pt>
                <c:pt idx="62">
                  <c:v>1000.4661093098684</c:v>
                </c:pt>
                <c:pt idx="63">
                  <c:v>1009.2342957984</c:v>
                </c:pt>
                <c:pt idx="64">
                  <c:v>1017.2697180088657</c:v>
                </c:pt>
                <c:pt idx="65">
                  <c:v>1024.7339893818034</c:v>
                </c:pt>
                <c:pt idx="66">
                  <c:v>1031.4961034925882</c:v>
                </c:pt>
                <c:pt idx="67">
                  <c:v>1037.5944775181308</c:v>
                </c:pt>
                <c:pt idx="68">
                  <c:v>1042.7744993411761</c:v>
                </c:pt>
                <c:pt idx="69">
                  <c:v>1047.1560699999036</c:v>
                </c:pt>
                <c:pt idx="70">
                  <c:v>1050.8242909777468</c:v>
                </c:pt>
                <c:pt idx="71">
                  <c:v>1053.4214054994391</c:v>
                </c:pt>
                <c:pt idx="72">
                  <c:v>1055.1965980763621</c:v>
                </c:pt>
                <c:pt idx="73">
                  <c:v>1056.1859106919169</c:v>
                </c:pt>
                <c:pt idx="74">
                  <c:v>1056.2423367841211</c:v>
                </c:pt>
                <c:pt idx="75">
                  <c:v>1055.4110905145862</c:v>
                </c:pt>
                <c:pt idx="76">
                  <c:v>1053.72551947125</c:v>
                </c:pt>
                <c:pt idx="77">
                  <c:v>1051.2479557998452</c:v>
                </c:pt>
                <c:pt idx="78">
                  <c:v>1047.7397518408352</c:v>
                </c:pt>
                <c:pt idx="79">
                  <c:v>1043.4128957156106</c:v>
                </c:pt>
                <c:pt idx="80">
                  <c:v>1038.2792911823876</c:v>
                </c:pt>
                <c:pt idx="81">
                  <c:v>1032.222122899007</c:v>
                </c:pt>
                <c:pt idx="82">
                  <c:v>1025.2551659647688</c:v>
                </c:pt>
                <c:pt idx="83">
                  <c:v>1017.5960118405094</c:v>
                </c:pt>
                <c:pt idx="84">
                  <c:v>1009.1657806781627</c:v>
                </c:pt>
                <c:pt idx="85">
                  <c:v>999.80592492353105</c:v>
                </c:pt>
                <c:pt idx="86">
                  <c:v>989.88823685466218</c:v>
                </c:pt>
                <c:pt idx="87">
                  <c:v>979.33608310418981</c:v>
                </c:pt>
                <c:pt idx="88">
                  <c:v>967.79804955891723</c:v>
                </c:pt>
                <c:pt idx="89">
                  <c:v>955.74715898199543</c:v>
                </c:pt>
                <c:pt idx="90">
                  <c:v>943.19214204510058</c:v>
                </c:pt>
                <c:pt idx="91">
                  <c:v>930.0426976474248</c:v>
                </c:pt>
                <c:pt idx="92">
                  <c:v>916.1165990575347</c:v>
                </c:pt>
                <c:pt idx="93">
                  <c:v>901.6722288019796</c:v>
                </c:pt>
                <c:pt idx="94">
                  <c:v>886.82251367908634</c:v>
                </c:pt>
                <c:pt idx="95">
                  <c:v>871.510929779247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692.87772293730188</c:v>
                </c:pt>
                <c:pt idx="43">
                  <c:v>717.13911875347151</c:v>
                </c:pt>
                <c:pt idx="44">
                  <c:v>741.95170240573486</c:v>
                </c:pt>
                <c:pt idx="45">
                  <c:v>766.46241050486015</c:v>
                </c:pt>
                <c:pt idx="46">
                  <c:v>789.87308875079509</c:v>
                </c:pt>
                <c:pt idx="47">
                  <c:v>812.59957167285825</c:v>
                </c:pt>
                <c:pt idx="48">
                  <c:v>835.4660681024809</c:v>
                </c:pt>
                <c:pt idx="49">
                  <c:v>858.79353969002068</c:v>
                </c:pt>
                <c:pt idx="50">
                  <c:v>882.46419855752549</c:v>
                </c:pt>
                <c:pt idx="51">
                  <c:v>907.38400654711995</c:v>
                </c:pt>
                <c:pt idx="52">
                  <c:v>932.37420314435315</c:v>
                </c:pt>
                <c:pt idx="53">
                  <c:v>955.3562519875486</c:v>
                </c:pt>
                <c:pt idx="54">
                  <c:v>977.54542861252412</c:v>
                </c:pt>
                <c:pt idx="55">
                  <c:v>999.78555798855621</c:v>
                </c:pt>
                <c:pt idx="56">
                  <c:v>1022.3144500582945</c:v>
                </c:pt>
                <c:pt idx="57">
                  <c:v>1045.1788189920278</c:v>
                </c:pt>
                <c:pt idx="58">
                  <c:v>1068.2333088823616</c:v>
                </c:pt>
                <c:pt idx="59">
                  <c:v>1091.2898544833442</c:v>
                </c:pt>
                <c:pt idx="60">
                  <c:v>1113.7226913040513</c:v>
                </c:pt>
                <c:pt idx="61">
                  <c:v>1135.5581499014386</c:v>
                </c:pt>
                <c:pt idx="62">
                  <c:v>1156.8871420725018</c:v>
                </c:pt>
                <c:pt idx="63">
                  <c:v>1177.7209324272799</c:v>
                </c:pt>
                <c:pt idx="64">
                  <c:v>1197.9027072126632</c:v>
                </c:pt>
                <c:pt idx="65">
                  <c:v>1217.5378822563878</c:v>
                </c:pt>
                <c:pt idx="66">
                  <c:v>1236.4499461574928</c:v>
                </c:pt>
                <c:pt idx="67">
                  <c:v>1254.6242785388358</c:v>
                </c:pt>
                <c:pt idx="68">
                  <c:v>1271.7588803605008</c:v>
                </c:pt>
                <c:pt idx="69">
                  <c:v>1287.9243852917075</c:v>
                </c:pt>
                <c:pt idx="70">
                  <c:v>1303.1545272190008</c:v>
                </c:pt>
                <c:pt idx="71">
                  <c:v>1317.0426986827517</c:v>
                </c:pt>
                <c:pt idx="72">
                  <c:v>1329.7874477311909</c:v>
                </c:pt>
                <c:pt idx="73">
                  <c:v>1341.3813253732296</c:v>
                </c:pt>
                <c:pt idx="74">
                  <c:v>1351.6350608901851</c:v>
                </c:pt>
                <c:pt idx="75">
                  <c:v>1360.5531211224115</c:v>
                </c:pt>
                <c:pt idx="76">
                  <c:v>1368.1306267188563</c:v>
                </c:pt>
                <c:pt idx="77">
                  <c:v>1374.3972524003764</c:v>
                </c:pt>
                <c:pt idx="78">
                  <c:v>1379.0816914473635</c:v>
                </c:pt>
                <c:pt idx="79">
                  <c:v>1382.3687199768381</c:v>
                </c:pt>
                <c:pt idx="80">
                  <c:v>1384.2455213855917</c:v>
                </c:pt>
                <c:pt idx="81">
                  <c:v>1384.5740053480886</c:v>
                </c:pt>
                <c:pt idx="82">
                  <c:v>1383.3489021031201</c:v>
                </c:pt>
                <c:pt idx="83">
                  <c:v>1380.7744880011983</c:v>
                </c:pt>
                <c:pt idx="84">
                  <c:v>1376.7613606673779</c:v>
                </c:pt>
                <c:pt idx="85">
                  <c:v>1371.1440688412213</c:v>
                </c:pt>
                <c:pt idx="86">
                  <c:v>1364.2910791872951</c:v>
                </c:pt>
                <c:pt idx="87">
                  <c:v>1356.1258723355672</c:v>
                </c:pt>
                <c:pt idx="88">
                  <c:v>1346.2991683332698</c:v>
                </c:pt>
                <c:pt idx="89">
                  <c:v>1335.2914871580517</c:v>
                </c:pt>
                <c:pt idx="90">
                  <c:v>1323.1199839120479</c:v>
                </c:pt>
                <c:pt idx="91">
                  <c:v>1309.7065381481721</c:v>
                </c:pt>
                <c:pt idx="92">
                  <c:v>1294.8662487244919</c:v>
                </c:pt>
                <c:pt idx="93">
                  <c:v>1278.8867747772601</c:v>
                </c:pt>
                <c:pt idx="94">
                  <c:v>1261.9004997656803</c:v>
                </c:pt>
                <c:pt idx="95">
                  <c:v>1243.87253345332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694.45907471315456</c:v>
                </c:pt>
                <c:pt idx="43">
                  <c:v>720.88083567861099</c:v>
                </c:pt>
                <c:pt idx="44">
                  <c:v>748.48495442622198</c:v>
                </c:pt>
                <c:pt idx="45">
                  <c:v>776.44773447174578</c:v>
                </c:pt>
                <c:pt idx="46">
                  <c:v>804.01466744061213</c:v>
                </c:pt>
                <c:pt idx="47">
                  <c:v>831.61475923568969</c:v>
                </c:pt>
                <c:pt idx="48">
                  <c:v>860.09656186505504</c:v>
                </c:pt>
                <c:pt idx="49">
                  <c:v>889.78071189147056</c:v>
                </c:pt>
                <c:pt idx="50">
                  <c:v>920.56210125831137</c:v>
                </c:pt>
                <c:pt idx="51">
                  <c:v>953.34113370979583</c:v>
                </c:pt>
                <c:pt idx="52">
                  <c:v>986.94236701727289</c:v>
                </c:pt>
                <c:pt idx="53">
                  <c:v>1019.2751394773765</c:v>
                </c:pt>
                <c:pt idx="54">
                  <c:v>1051.5453407176246</c:v>
                </c:pt>
                <c:pt idx="55">
                  <c:v>1084.5734458507109</c:v>
                </c:pt>
                <c:pt idx="56">
                  <c:v>1118.5566504182189</c:v>
                </c:pt>
                <c:pt idx="57">
                  <c:v>1153.4555549346569</c:v>
                </c:pt>
                <c:pt idx="58">
                  <c:v>1189.0989966743045</c:v>
                </c:pt>
                <c:pt idx="59">
                  <c:v>1225.2554772674698</c:v>
                </c:pt>
                <c:pt idx="60">
                  <c:v>1261.2672767097708</c:v>
                </c:pt>
                <c:pt idx="61">
                  <c:v>1297.0955269178894</c:v>
                </c:pt>
                <c:pt idx="62">
                  <c:v>1332.7787799449152</c:v>
                </c:pt>
                <c:pt idx="63">
                  <c:v>1368.2633041569106</c:v>
                </c:pt>
                <c:pt idx="64">
                  <c:v>1403.3156338205031</c:v>
                </c:pt>
                <c:pt idx="65">
                  <c:v>1437.9682956452973</c:v>
                </c:pt>
                <c:pt idx="66">
                  <c:v>1471.9802822736899</c:v>
                </c:pt>
                <c:pt idx="67">
                  <c:v>1505.2623683153752</c:v>
                </c:pt>
                <c:pt idx="68">
                  <c:v>1537.4413900313075</c:v>
                </c:pt>
                <c:pt idx="69">
                  <c:v>1568.5129970533103</c:v>
                </c:pt>
                <c:pt idx="70">
                  <c:v>1598.4322559776192</c:v>
                </c:pt>
                <c:pt idx="71">
                  <c:v>1626.7151772673692</c:v>
                </c:pt>
                <c:pt idx="72">
                  <c:v>1653.4804015392822</c:v>
                </c:pt>
                <c:pt idx="73">
                  <c:v>1678.6473551825779</c:v>
                </c:pt>
                <c:pt idx="74">
                  <c:v>1701.9548067085136</c:v>
                </c:pt>
                <c:pt idx="75">
                  <c:v>1723.3371109535165</c:v>
                </c:pt>
                <c:pt idx="76">
                  <c:v>1742.722540444066</c:v>
                </c:pt>
                <c:pt idx="77">
                  <c:v>1760.080644713772</c:v>
                </c:pt>
                <c:pt idx="78">
                  <c:v>1775.0815144461899</c:v>
                </c:pt>
                <c:pt idx="79">
                  <c:v>1787.8586604511254</c:v>
                </c:pt>
                <c:pt idx="80">
                  <c:v>1798.352679114817</c:v>
                </c:pt>
                <c:pt idx="81">
                  <c:v>1806.3848092757007</c:v>
                </c:pt>
                <c:pt idx="82">
                  <c:v>1811.9140623674455</c:v>
                </c:pt>
                <c:pt idx="83">
                  <c:v>1815.1176668330027</c:v>
                </c:pt>
                <c:pt idx="84">
                  <c:v>1815.8850606142289</c:v>
                </c:pt>
                <c:pt idx="85">
                  <c:v>1814.0364548631799</c:v>
                </c:pt>
                <c:pt idx="86">
                  <c:v>1809.9328177165953</c:v>
                </c:pt>
                <c:pt idx="87">
                  <c:v>1803.4968333850791</c:v>
                </c:pt>
                <c:pt idx="88">
                  <c:v>1794.3836630803289</c:v>
                </c:pt>
                <c:pt idx="89">
                  <c:v>1783.0867818524982</c:v>
                </c:pt>
                <c:pt idx="90">
                  <c:v>1769.6402432535256</c:v>
                </c:pt>
                <c:pt idx="91">
                  <c:v>1753.9894423892783</c:v>
                </c:pt>
                <c:pt idx="92">
                  <c:v>1735.9606905676424</c:v>
                </c:pt>
                <c:pt idx="93">
                  <c:v>1715.8872850085681</c:v>
                </c:pt>
                <c:pt idx="94">
                  <c:v>1693.9395556377544</c:v>
                </c:pt>
                <c:pt idx="95">
                  <c:v>1670.12461945886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1</c:v>
                </c:pt>
                <c:pt idx="1">
                  <c:v>11</c:v>
                </c:pt>
                <c:pt idx="2">
                  <c:v>14</c:v>
                </c:pt>
                <c:pt idx="3">
                  <c:v>16</c:v>
                </c:pt>
                <c:pt idx="4">
                  <c:v>10</c:v>
                </c:pt>
                <c:pt idx="5">
                  <c:v>13</c:v>
                </c:pt>
                <c:pt idx="6">
                  <c:v>19</c:v>
                </c:pt>
                <c:pt idx="7">
                  <c:v>23</c:v>
                </c:pt>
                <c:pt idx="8">
                  <c:v>23</c:v>
                </c:pt>
                <c:pt idx="9">
                  <c:v>24</c:v>
                </c:pt>
                <c:pt idx="10">
                  <c:v>29</c:v>
                </c:pt>
                <c:pt idx="11">
                  <c:v>30</c:v>
                </c:pt>
                <c:pt idx="12">
                  <c:v>33</c:v>
                </c:pt>
                <c:pt idx="13">
                  <c:v>36</c:v>
                </c:pt>
                <c:pt idx="14">
                  <c:v>40</c:v>
                </c:pt>
                <c:pt idx="15">
                  <c:v>37</c:v>
                </c:pt>
                <c:pt idx="16">
                  <c:v>37</c:v>
                </c:pt>
                <c:pt idx="17">
                  <c:v>47</c:v>
                </c:pt>
                <c:pt idx="18">
                  <c:v>47</c:v>
                </c:pt>
                <c:pt idx="19">
                  <c:v>52</c:v>
                </c:pt>
                <c:pt idx="20">
                  <c:v>51</c:v>
                </c:pt>
                <c:pt idx="21">
                  <c:v>63</c:v>
                </c:pt>
                <c:pt idx="22">
                  <c:v>59</c:v>
                </c:pt>
                <c:pt idx="23">
                  <c:v>57</c:v>
                </c:pt>
                <c:pt idx="24">
                  <c:v>65</c:v>
                </c:pt>
                <c:pt idx="25">
                  <c:v>82</c:v>
                </c:pt>
                <c:pt idx="26">
                  <c:v>89</c:v>
                </c:pt>
                <c:pt idx="27">
                  <c:v>80</c:v>
                </c:pt>
                <c:pt idx="28">
                  <c:v>98</c:v>
                </c:pt>
                <c:pt idx="29">
                  <c:v>100</c:v>
                </c:pt>
                <c:pt idx="30">
                  <c:v>109</c:v>
                </c:pt>
                <c:pt idx="31">
                  <c:v>139</c:v>
                </c:pt>
                <c:pt idx="32">
                  <c:v>142</c:v>
                </c:pt>
                <c:pt idx="33">
                  <c:v>154</c:v>
                </c:pt>
                <c:pt idx="34">
                  <c:v>173</c:v>
                </c:pt>
                <c:pt idx="35">
                  <c:v>192</c:v>
                </c:pt>
                <c:pt idx="36">
                  <c:v>194</c:v>
                </c:pt>
                <c:pt idx="37">
                  <c:v>212</c:v>
                </c:pt>
                <c:pt idx="38">
                  <c:v>255</c:v>
                </c:pt>
                <c:pt idx="39">
                  <c:v>292</c:v>
                </c:pt>
                <c:pt idx="40">
                  <c:v>313</c:v>
                </c:pt>
                <c:pt idx="41">
                  <c:v>337</c:v>
                </c:pt>
                <c:pt idx="42">
                  <c:v>371</c:v>
                </c:pt>
                <c:pt idx="43">
                  <c:v>358</c:v>
                </c:pt>
                <c:pt idx="44">
                  <c:v>373</c:v>
                </c:pt>
                <c:pt idx="45">
                  <c:v>405</c:v>
                </c:pt>
                <c:pt idx="46">
                  <c:v>4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38.59457134552247</c:v>
                </c:pt>
                <c:pt idx="43">
                  <c:v>349.60038938733982</c:v>
                </c:pt>
                <c:pt idx="44">
                  <c:v>360.57651342678923</c:v>
                </c:pt>
                <c:pt idx="45">
                  <c:v>371.10611841830507</c:v>
                </c:pt>
                <c:pt idx="46">
                  <c:v>380.79736332670825</c:v>
                </c:pt>
                <c:pt idx="47">
                  <c:v>389.83692294572455</c:v>
                </c:pt>
                <c:pt idx="48">
                  <c:v>398.59985697278921</c:v>
                </c:pt>
                <c:pt idx="49">
                  <c:v>407.2529953123472</c:v>
                </c:pt>
                <c:pt idx="50">
                  <c:v>415.74692021392616</c:v>
                </c:pt>
                <c:pt idx="51">
                  <c:v>424.52477662760617</c:v>
                </c:pt>
                <c:pt idx="52">
                  <c:v>433.01606724429087</c:v>
                </c:pt>
                <c:pt idx="53">
                  <c:v>440.23294417976604</c:v>
                </c:pt>
                <c:pt idx="54">
                  <c:v>446.78333575715942</c:v>
                </c:pt>
                <c:pt idx="55">
                  <c:v>453.07803158172476</c:v>
                </c:pt>
                <c:pt idx="56">
                  <c:v>459.25681715668929</c:v>
                </c:pt>
                <c:pt idx="57">
                  <c:v>465.37911035079219</c:v>
                </c:pt>
                <c:pt idx="58">
                  <c:v>471.40283871956467</c:v>
                </c:pt>
                <c:pt idx="59">
                  <c:v>477.25606167182997</c:v>
                </c:pt>
                <c:pt idx="60">
                  <c:v>482.63858397857581</c:v>
                </c:pt>
                <c:pt idx="61">
                  <c:v>487.60741752447399</c:v>
                </c:pt>
                <c:pt idx="62">
                  <c:v>492.22273935261921</c:v>
                </c:pt>
                <c:pt idx="63">
                  <c:v>496.51759341931825</c:v>
                </c:pt>
                <c:pt idx="64">
                  <c:v>500.44782089496664</c:v>
                </c:pt>
                <c:pt idx="65">
                  <c:v>504.0922796119429</c:v>
                </c:pt>
                <c:pt idx="66">
                  <c:v>507.38756843410016</c:v>
                </c:pt>
                <c:pt idx="67">
                  <c:v>510.3490072068131</c:v>
                </c:pt>
                <c:pt idx="68">
                  <c:v>512.85721167355791</c:v>
                </c:pt>
                <c:pt idx="69">
                  <c:v>514.96628290488002</c:v>
                </c:pt>
                <c:pt idx="70">
                  <c:v>516.72392672393153</c:v>
                </c:pt>
                <c:pt idx="71">
                  <c:v>517.9547105947305</c:v>
                </c:pt>
                <c:pt idx="72">
                  <c:v>518.7819828168407</c:v>
                </c:pt>
                <c:pt idx="73">
                  <c:v>519.22105672222233</c:v>
                </c:pt>
                <c:pt idx="74">
                  <c:v>519.19593023255209</c:v>
                </c:pt>
                <c:pt idx="75">
                  <c:v>518.73348504522187</c:v>
                </c:pt>
                <c:pt idx="76">
                  <c:v>517.84743148185578</c:v>
                </c:pt>
                <c:pt idx="77">
                  <c:v>516.57420377628239</c:v>
                </c:pt>
                <c:pt idx="78">
                  <c:v>514.79316090705515</c:v>
                </c:pt>
                <c:pt idx="79">
                  <c:v>512.6129022394407</c:v>
                </c:pt>
                <c:pt idx="80">
                  <c:v>510.03440848739109</c:v>
                </c:pt>
                <c:pt idx="81">
                  <c:v>506.99484140309858</c:v>
                </c:pt>
                <c:pt idx="82">
                  <c:v>503.50986259859462</c:v>
                </c:pt>
                <c:pt idx="83">
                  <c:v>499.6841447313999</c:v>
                </c:pt>
                <c:pt idx="84">
                  <c:v>495.47996149076437</c:v>
                </c:pt>
                <c:pt idx="85">
                  <c:v>490.8226367892878</c:v>
                </c:pt>
                <c:pt idx="86">
                  <c:v>485.89547073369999</c:v>
                </c:pt>
                <c:pt idx="87">
                  <c:v>480.65838351597199</c:v>
                </c:pt>
                <c:pt idx="88">
                  <c:v>474.92591674271995</c:v>
                </c:pt>
                <c:pt idx="89">
                  <c:v>468.94378696429703</c:v>
                </c:pt>
                <c:pt idx="90">
                  <c:v>462.71541332157426</c:v>
                </c:pt>
                <c:pt idx="91">
                  <c:v>456.19518986357622</c:v>
                </c:pt>
                <c:pt idx="92">
                  <c:v>449.2958718217335</c:v>
                </c:pt>
                <c:pt idx="93">
                  <c:v>442.14276619960276</c:v>
                </c:pt>
                <c:pt idx="94">
                  <c:v>434.78987577388114</c:v>
                </c:pt>
                <c:pt idx="95">
                  <c:v>427.21079346661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39.37635143940798</c:v>
                </c:pt>
                <c:pt idx="43">
                  <c:v>351.44435205540924</c:v>
                </c:pt>
                <c:pt idx="44">
                  <c:v>363.78318845927095</c:v>
                </c:pt>
                <c:pt idx="45">
                  <c:v>375.98418923651661</c:v>
                </c:pt>
                <c:pt idx="46">
                  <c:v>387.67091353927719</c:v>
                </c:pt>
                <c:pt idx="47">
                  <c:v>399.02919663628643</c:v>
                </c:pt>
                <c:pt idx="48">
                  <c:v>410.43876350188089</c:v>
                </c:pt>
                <c:pt idx="49">
                  <c:v>422.05884449914856</c:v>
                </c:pt>
                <c:pt idx="50">
                  <c:v>433.83882074270917</c:v>
                </c:pt>
                <c:pt idx="51">
                  <c:v>446.21180657059034</c:v>
                </c:pt>
                <c:pt idx="52">
                  <c:v>458.60181421699906</c:v>
                </c:pt>
                <c:pt idx="53">
                  <c:v>470.0088669244783</c:v>
                </c:pt>
                <c:pt idx="54">
                  <c:v>481.03083907787322</c:v>
                </c:pt>
                <c:pt idx="55">
                  <c:v>492.06172984045531</c:v>
                </c:pt>
                <c:pt idx="56">
                  <c:v>503.21722525455641</c:v>
                </c:pt>
                <c:pt idx="57">
                  <c:v>514.51203364911748</c:v>
                </c:pt>
                <c:pt idx="58">
                  <c:v>525.88987366218771</c:v>
                </c:pt>
                <c:pt idx="59">
                  <c:v>537.25717961807811</c:v>
                </c:pt>
                <c:pt idx="60">
                  <c:v>548.29903838397615</c:v>
                </c:pt>
                <c:pt idx="61">
                  <c:v>559.04304107642236</c:v>
                </c:pt>
                <c:pt idx="62">
                  <c:v>569.52759146054814</c:v>
                </c:pt>
                <c:pt idx="63">
                  <c:v>579.75958430598325</c:v>
                </c:pt>
                <c:pt idx="64">
                  <c:v>589.66371235718793</c:v>
                </c:pt>
                <c:pt idx="65">
                  <c:v>599.29139247865646</c:v>
                </c:pt>
                <c:pt idx="66">
                  <c:v>608.55684378569345</c:v>
                </c:pt>
                <c:pt idx="67">
                  <c:v>617.44936298872619</c:v>
                </c:pt>
                <c:pt idx="68">
                  <c:v>625.82633167603399</c:v>
                </c:pt>
                <c:pt idx="69">
                  <c:v>633.71766631480682</c:v>
                </c:pt>
                <c:pt idx="70">
                  <c:v>641.14592491294593</c:v>
                </c:pt>
                <c:pt idx="71">
                  <c:v>647.91169099632714</c:v>
                </c:pt>
                <c:pt idx="72">
                  <c:v>654.11356497616885</c:v>
                </c:pt>
                <c:pt idx="73">
                  <c:v>659.7454232878631</c:v>
                </c:pt>
                <c:pt idx="74">
                  <c:v>664.71074825458322</c:v>
                </c:pt>
                <c:pt idx="75">
                  <c:v>669.01654405084525</c:v>
                </c:pt>
                <c:pt idx="76">
                  <c:v>672.6578955520788</c:v>
                </c:pt>
                <c:pt idx="77">
                  <c:v>675.65531472726707</c:v>
                </c:pt>
                <c:pt idx="78">
                  <c:v>677.87223000791539</c:v>
                </c:pt>
                <c:pt idx="79">
                  <c:v>679.40407126314119</c:v>
                </c:pt>
                <c:pt idx="80">
                  <c:v>680.23985090250801</c:v>
                </c:pt>
                <c:pt idx="81">
                  <c:v>680.30646167105351</c:v>
                </c:pt>
                <c:pt idx="82">
                  <c:v>679.610348895166</c:v>
                </c:pt>
                <c:pt idx="83">
                  <c:v>678.24986270985039</c:v>
                </c:pt>
                <c:pt idx="84">
                  <c:v>676.1822969738422</c:v>
                </c:pt>
                <c:pt idx="85">
                  <c:v>673.32977356352671</c:v>
                </c:pt>
                <c:pt idx="86">
                  <c:v>669.87414710136966</c:v>
                </c:pt>
                <c:pt idx="87">
                  <c:v>665.77557903747322</c:v>
                </c:pt>
                <c:pt idx="88">
                  <c:v>660.84979307792423</c:v>
                </c:pt>
                <c:pt idx="89">
                  <c:v>655.34639321611985</c:v>
                </c:pt>
                <c:pt idx="90">
                  <c:v>649.27305639463066</c:v>
                </c:pt>
                <c:pt idx="91">
                  <c:v>642.59030047242527</c:v>
                </c:pt>
                <c:pt idx="92">
                  <c:v>635.20906786897899</c:v>
                </c:pt>
                <c:pt idx="93">
                  <c:v>627.26958826197961</c:v>
                </c:pt>
                <c:pt idx="94">
                  <c:v>618.83551723354765</c:v>
                </c:pt>
                <c:pt idx="95">
                  <c:v>609.891160262291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40.16311122082675</c:v>
                </c:pt>
                <c:pt idx="43">
                  <c:v>353.30608614852093</c:v>
                </c:pt>
                <c:pt idx="44">
                  <c:v>367.03322920204187</c:v>
                </c:pt>
                <c:pt idx="45">
                  <c:v>380.94975329099168</c:v>
                </c:pt>
                <c:pt idx="46">
                  <c:v>394.70096051727478</c:v>
                </c:pt>
                <c:pt idx="47">
                  <c:v>408.47856486532419</c:v>
                </c:pt>
                <c:pt idx="48">
                  <c:v>422.67397642677753</c:v>
                </c:pt>
                <c:pt idx="49">
                  <c:v>437.44593170282428</c:v>
                </c:pt>
                <c:pt idx="50">
                  <c:v>452.74968265974894</c:v>
                </c:pt>
                <c:pt idx="51">
                  <c:v>469.01516336406303</c:v>
                </c:pt>
                <c:pt idx="52">
                  <c:v>485.66740814942665</c:v>
                </c:pt>
                <c:pt idx="53">
                  <c:v>501.70026550803277</c:v>
                </c:pt>
                <c:pt idx="54">
                  <c:v>517.70685355814339</c:v>
                </c:pt>
                <c:pt idx="55">
                  <c:v>534.06885331538638</c:v>
                </c:pt>
                <c:pt idx="56">
                  <c:v>550.88140282572078</c:v>
                </c:pt>
                <c:pt idx="57">
                  <c:v>568.11683127539641</c:v>
                </c:pt>
                <c:pt idx="58">
                  <c:v>585.70588542720679</c:v>
                </c:pt>
                <c:pt idx="59">
                  <c:v>603.53334872118501</c:v>
                </c:pt>
                <c:pt idx="60">
                  <c:v>621.26820764402351</c:v>
                </c:pt>
                <c:pt idx="61">
                  <c:v>638.90578857106016</c:v>
                </c:pt>
                <c:pt idx="62">
                  <c:v>656.45844687540023</c:v>
                </c:pt>
                <c:pt idx="63">
                  <c:v>673.90122825754133</c:v>
                </c:pt>
                <c:pt idx="64">
                  <c:v>691.1205509903433</c:v>
                </c:pt>
                <c:pt idx="65">
                  <c:v>708.13205843300238</c:v>
                </c:pt>
                <c:pt idx="66">
                  <c:v>724.81813487816316</c:v>
                </c:pt>
                <c:pt idx="67">
                  <c:v>741.1313422259725</c:v>
                </c:pt>
                <c:pt idx="68">
                  <c:v>756.89404212984209</c:v>
                </c:pt>
                <c:pt idx="69">
                  <c:v>772.09924150885433</c:v>
                </c:pt>
                <c:pt idx="70">
                  <c:v>786.73086337322457</c:v>
                </c:pt>
                <c:pt idx="71">
                  <c:v>800.55143045401019</c:v>
                </c:pt>
                <c:pt idx="72">
                  <c:v>813.62037407785215</c:v>
                </c:pt>
                <c:pt idx="73">
                  <c:v>825.89555336367698</c:v>
                </c:pt>
                <c:pt idx="74">
                  <c:v>837.24534516772724</c:v>
                </c:pt>
                <c:pt idx="75">
                  <c:v>847.64247008912162</c:v>
                </c:pt>
                <c:pt idx="76">
                  <c:v>857.04936795752201</c:v>
                </c:pt>
                <c:pt idx="77">
                  <c:v>865.45719628303823</c:v>
                </c:pt>
                <c:pt idx="78">
                  <c:v>872.70078927554641</c:v>
                </c:pt>
                <c:pt idx="79">
                  <c:v>878.85069120838784</c:v>
                </c:pt>
                <c:pt idx="80">
                  <c:v>883.87332172844958</c:v>
                </c:pt>
                <c:pt idx="81">
                  <c:v>887.67590971678965</c:v>
                </c:pt>
                <c:pt idx="82">
                  <c:v>890.24763990898259</c:v>
                </c:pt>
                <c:pt idx="83">
                  <c:v>891.67395192681192</c:v>
                </c:pt>
                <c:pt idx="84">
                  <c:v>891.90210146731943</c:v>
                </c:pt>
                <c:pt idx="85">
                  <c:v>890.84753009835731</c:v>
                </c:pt>
                <c:pt idx="86">
                  <c:v>888.68877449166985</c:v>
                </c:pt>
                <c:pt idx="87">
                  <c:v>885.38596878811654</c:v>
                </c:pt>
                <c:pt idx="88">
                  <c:v>880.75732907361999</c:v>
                </c:pt>
                <c:pt idx="89">
                  <c:v>875.05920110487682</c:v>
                </c:pt>
                <c:pt idx="90">
                  <c:v>868.30784879058046</c:v>
                </c:pt>
                <c:pt idx="91">
                  <c:v>860.47563957050784</c:v>
                </c:pt>
                <c:pt idx="92">
                  <c:v>851.47866763035961</c:v>
                </c:pt>
                <c:pt idx="93">
                  <c:v>841.48025442160315</c:v>
                </c:pt>
                <c:pt idx="94">
                  <c:v>830.562907021093</c:v>
                </c:pt>
                <c:pt idx="95">
                  <c:v>818.731751456826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2</c:v>
                </c:pt>
                <c:pt idx="1">
                  <c:v>12</c:v>
                </c:pt>
                <c:pt idx="2">
                  <c:v>13</c:v>
                </c:pt>
                <c:pt idx="3">
                  <c:v>14</c:v>
                </c:pt>
                <c:pt idx="4">
                  <c:v>13</c:v>
                </c:pt>
                <c:pt idx="5">
                  <c:v>15</c:v>
                </c:pt>
                <c:pt idx="6">
                  <c:v>18</c:v>
                </c:pt>
                <c:pt idx="7">
                  <c:v>20</c:v>
                </c:pt>
                <c:pt idx="8">
                  <c:v>18</c:v>
                </c:pt>
                <c:pt idx="9">
                  <c:v>19</c:v>
                </c:pt>
                <c:pt idx="10">
                  <c:v>24</c:v>
                </c:pt>
                <c:pt idx="11">
                  <c:v>28</c:v>
                </c:pt>
                <c:pt idx="12">
                  <c:v>27</c:v>
                </c:pt>
                <c:pt idx="13">
                  <c:v>30</c:v>
                </c:pt>
                <c:pt idx="14">
                  <c:v>34</c:v>
                </c:pt>
                <c:pt idx="15">
                  <c:v>40</c:v>
                </c:pt>
                <c:pt idx="16">
                  <c:v>44</c:v>
                </c:pt>
                <c:pt idx="17">
                  <c:v>56</c:v>
                </c:pt>
                <c:pt idx="18">
                  <c:v>54</c:v>
                </c:pt>
                <c:pt idx="19">
                  <c:v>69</c:v>
                </c:pt>
                <c:pt idx="20">
                  <c:v>72</c:v>
                </c:pt>
                <c:pt idx="21">
                  <c:v>79</c:v>
                </c:pt>
                <c:pt idx="22">
                  <c:v>82</c:v>
                </c:pt>
                <c:pt idx="23">
                  <c:v>87</c:v>
                </c:pt>
                <c:pt idx="24">
                  <c:v>96</c:v>
                </c:pt>
                <c:pt idx="25">
                  <c:v>106</c:v>
                </c:pt>
                <c:pt idx="26">
                  <c:v>127</c:v>
                </c:pt>
                <c:pt idx="27">
                  <c:v>126</c:v>
                </c:pt>
                <c:pt idx="28">
                  <c:v>135</c:v>
                </c:pt>
                <c:pt idx="29">
                  <c:v>156</c:v>
                </c:pt>
                <c:pt idx="30">
                  <c:v>161</c:v>
                </c:pt>
                <c:pt idx="31">
                  <c:v>191</c:v>
                </c:pt>
                <c:pt idx="32">
                  <c:v>205</c:v>
                </c:pt>
                <c:pt idx="33">
                  <c:v>203</c:v>
                </c:pt>
                <c:pt idx="34">
                  <c:v>223</c:v>
                </c:pt>
                <c:pt idx="35">
                  <c:v>227</c:v>
                </c:pt>
                <c:pt idx="36">
                  <c:v>245</c:v>
                </c:pt>
                <c:pt idx="37">
                  <c:v>262</c:v>
                </c:pt>
                <c:pt idx="38">
                  <c:v>294</c:v>
                </c:pt>
                <c:pt idx="39">
                  <c:v>309</c:v>
                </c:pt>
                <c:pt idx="40">
                  <c:v>321</c:v>
                </c:pt>
                <c:pt idx="41">
                  <c:v>325</c:v>
                </c:pt>
                <c:pt idx="42">
                  <c:v>327</c:v>
                </c:pt>
                <c:pt idx="43">
                  <c:v>313</c:v>
                </c:pt>
                <c:pt idx="44">
                  <c:v>335</c:v>
                </c:pt>
                <c:pt idx="45">
                  <c:v>394</c:v>
                </c:pt>
                <c:pt idx="46">
                  <c:v>3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36.05483413590485</c:v>
                </c:pt>
                <c:pt idx="43">
                  <c:v>346.41354080836152</c:v>
                </c:pt>
                <c:pt idx="44">
                  <c:v>356.75327355074239</c:v>
                </c:pt>
                <c:pt idx="45">
                  <c:v>366.62771628666661</c:v>
                </c:pt>
                <c:pt idx="46">
                  <c:v>375.60034305580467</c:v>
                </c:pt>
                <c:pt idx="47">
                  <c:v>383.91406385537357</c:v>
                </c:pt>
                <c:pt idx="48">
                  <c:v>392.02044783523201</c:v>
                </c:pt>
                <c:pt idx="49">
                  <c:v>400.07694960145244</c:v>
                </c:pt>
                <c:pt idx="50">
                  <c:v>408.00950439325595</c:v>
                </c:pt>
                <c:pt idx="51">
                  <c:v>416.29188262105799</c:v>
                </c:pt>
                <c:pt idx="52">
                  <c:v>424.35124183186753</c:v>
                </c:pt>
                <c:pt idx="53">
                  <c:v>431.14577315556289</c:v>
                </c:pt>
                <c:pt idx="54">
                  <c:v>437.26950926557362</c:v>
                </c:pt>
                <c:pt idx="55">
                  <c:v>443.19205290862783</c:v>
                </c:pt>
                <c:pt idx="56">
                  <c:v>449.05279904782356</c:v>
                </c:pt>
                <c:pt idx="57">
                  <c:v>454.93771110513353</c:v>
                </c:pt>
                <c:pt idx="58">
                  <c:v>460.75423538285793</c:v>
                </c:pt>
                <c:pt idx="59">
                  <c:v>466.43494623773347</c:v>
                </c:pt>
                <c:pt idx="60">
                  <c:v>471.70904736593127</c:v>
                </c:pt>
                <c:pt idx="61">
                  <c:v>476.58319350174941</c:v>
                </c:pt>
                <c:pt idx="62">
                  <c:v>481.13678372736604</c:v>
                </c:pt>
                <c:pt idx="63">
                  <c:v>485.3984540019128</c:v>
                </c:pt>
                <c:pt idx="64">
                  <c:v>489.31743454862715</c:v>
                </c:pt>
                <c:pt idx="65">
                  <c:v>492.97299338965604</c:v>
                </c:pt>
                <c:pt idx="66">
                  <c:v>496.29964165386133</c:v>
                </c:pt>
                <c:pt idx="67">
                  <c:v>499.32430876648777</c:v>
                </c:pt>
                <c:pt idx="68">
                  <c:v>501.91065985504474</c:v>
                </c:pt>
                <c:pt idx="69">
                  <c:v>504.12789949567332</c:v>
                </c:pt>
                <c:pt idx="70">
                  <c:v>506.0031757995456</c:v>
                </c:pt>
                <c:pt idx="71">
                  <c:v>507.36306639080203</c:v>
                </c:pt>
                <c:pt idx="72">
                  <c:v>508.32563396329323</c:v>
                </c:pt>
                <c:pt idx="73">
                  <c:v>508.91392236212147</c:v>
                </c:pt>
                <c:pt idx="74">
                  <c:v>509.06591187317235</c:v>
                </c:pt>
                <c:pt idx="75">
                  <c:v>508.79240075121436</c:v>
                </c:pt>
                <c:pt idx="76">
                  <c:v>508.11579190368343</c:v>
                </c:pt>
                <c:pt idx="77">
                  <c:v>507.05244680118676</c:v>
                </c:pt>
                <c:pt idx="78">
                  <c:v>505.49521706204723</c:v>
                </c:pt>
                <c:pt idx="79">
                  <c:v>503.53589317927629</c:v>
                </c:pt>
                <c:pt idx="80">
                  <c:v>501.19171038142792</c:v>
                </c:pt>
                <c:pt idx="81">
                  <c:v>498.41915803995988</c:v>
                </c:pt>
                <c:pt idx="82">
                  <c:v>495.20388725036429</c:v>
                </c:pt>
                <c:pt idx="83">
                  <c:v>491.65616116618321</c:v>
                </c:pt>
                <c:pt idx="84">
                  <c:v>487.73549103688009</c:v>
                </c:pt>
                <c:pt idx="85">
                  <c:v>483.35777221951417</c:v>
                </c:pt>
                <c:pt idx="86">
                  <c:v>478.70090546000688</c:v>
                </c:pt>
                <c:pt idx="87">
                  <c:v>473.73364753158</c:v>
                </c:pt>
                <c:pt idx="88">
                  <c:v>468.31666138346588</c:v>
                </c:pt>
                <c:pt idx="89">
                  <c:v>462.64675798710198</c:v>
                </c:pt>
                <c:pt idx="90">
                  <c:v>456.73020471816773</c:v>
                </c:pt>
                <c:pt idx="91">
                  <c:v>450.52635652559576</c:v>
                </c:pt>
                <c:pt idx="92">
                  <c:v>443.94188990713809</c:v>
                </c:pt>
                <c:pt idx="93">
                  <c:v>437.10535017628354</c:v>
                </c:pt>
                <c:pt idx="94">
                  <c:v>430.07471964243729</c:v>
                </c:pt>
                <c:pt idx="95">
                  <c:v>422.819504766202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36.78997194161479</c:v>
                </c:pt>
                <c:pt idx="43">
                  <c:v>348.14702153843541</c:v>
                </c:pt>
                <c:pt idx="44">
                  <c:v>359.76995877251352</c:v>
                </c:pt>
                <c:pt idx="45">
                  <c:v>371.22249551270096</c:v>
                </c:pt>
                <c:pt idx="46">
                  <c:v>382.08243736773505</c:v>
                </c:pt>
                <c:pt idx="47">
                  <c:v>392.59403411807335</c:v>
                </c:pt>
                <c:pt idx="48">
                  <c:v>403.21451852278039</c:v>
                </c:pt>
                <c:pt idx="49">
                  <c:v>414.09513048219156</c:v>
                </c:pt>
                <c:pt idx="50">
                  <c:v>425.16191553551226</c:v>
                </c:pt>
                <c:pt idx="51">
                  <c:v>436.88033782677616</c:v>
                </c:pt>
                <c:pt idx="52">
                  <c:v>448.67418070409542</c:v>
                </c:pt>
                <c:pt idx="53">
                  <c:v>459.49038064903061</c:v>
                </c:pt>
                <c:pt idx="54">
                  <c:v>469.91345733526498</c:v>
                </c:pt>
                <c:pt idx="55">
                  <c:v>480.39916311387935</c:v>
                </c:pt>
                <c:pt idx="56">
                  <c:v>491.06496786915875</c:v>
                </c:pt>
                <c:pt idx="57">
                  <c:v>501.95287141681013</c:v>
                </c:pt>
                <c:pt idx="58">
                  <c:v>512.95700983060533</c:v>
                </c:pt>
                <c:pt idx="59">
                  <c:v>523.98939251144759</c:v>
                </c:pt>
                <c:pt idx="60">
                  <c:v>534.76570357558626</c:v>
                </c:pt>
                <c:pt idx="61">
                  <c:v>545.26405258868397</c:v>
                </c:pt>
                <c:pt idx="62">
                  <c:v>555.54308997965427</c:v>
                </c:pt>
                <c:pt idx="63">
                  <c:v>565.60503979255384</c:v>
                </c:pt>
                <c:pt idx="64">
                  <c:v>575.37013494954113</c:v>
                </c:pt>
                <c:pt idx="65">
                  <c:v>584.89012656548766</c:v>
                </c:pt>
                <c:pt idx="66">
                  <c:v>594.07762202094818</c:v>
                </c:pt>
                <c:pt idx="67">
                  <c:v>602.9338767179928</c:v>
                </c:pt>
                <c:pt idx="68">
                  <c:v>611.29957819559081</c:v>
                </c:pt>
                <c:pt idx="69">
                  <c:v>619.22010879238906</c:v>
                </c:pt>
                <c:pt idx="70">
                  <c:v>626.69761890111761</c:v>
                </c:pt>
                <c:pt idx="71">
                  <c:v>633.53507454490068</c:v>
                </c:pt>
                <c:pt idx="72">
                  <c:v>639.82579737655271</c:v>
                </c:pt>
                <c:pt idx="73">
                  <c:v>645.57200942250029</c:v>
                </c:pt>
                <c:pt idx="74">
                  <c:v>650.69070911169069</c:v>
                </c:pt>
                <c:pt idx="75">
                  <c:v>655.17269773172609</c:v>
                </c:pt>
                <c:pt idx="76">
                  <c:v>659.02156482390239</c:v>
                </c:pt>
                <c:pt idx="77">
                  <c:v>662.23762424890242</c:v>
                </c:pt>
                <c:pt idx="78">
                  <c:v>664.69769688152974</c:v>
                </c:pt>
                <c:pt idx="79">
                  <c:v>666.47997049081278</c:v>
                </c:pt>
                <c:pt idx="80">
                  <c:v>667.58933410697716</c:v>
                </c:pt>
                <c:pt idx="81">
                  <c:v>667.97157792827068</c:v>
                </c:pt>
                <c:pt idx="82">
                  <c:v>667.60283138635373</c:v>
                </c:pt>
                <c:pt idx="83">
                  <c:v>666.5864149834124</c:v>
                </c:pt>
                <c:pt idx="84">
                  <c:v>664.87631405684408</c:v>
                </c:pt>
                <c:pt idx="85">
                  <c:v>662.38464462434581</c:v>
                </c:pt>
                <c:pt idx="86">
                  <c:v>659.28725792212026</c:v>
                </c:pt>
                <c:pt idx="87">
                  <c:v>655.55252840536571</c:v>
                </c:pt>
                <c:pt idx="88">
                  <c:v>651.04183350057224</c:v>
                </c:pt>
                <c:pt idx="89">
                  <c:v>645.95512022357775</c:v>
                </c:pt>
                <c:pt idx="90">
                  <c:v>640.30244051478462</c:v>
                </c:pt>
                <c:pt idx="91">
                  <c:v>634.04869787813448</c:v>
                </c:pt>
                <c:pt idx="92">
                  <c:v>627.10045598060447</c:v>
                </c:pt>
                <c:pt idx="93">
                  <c:v>619.59911494163612</c:v>
                </c:pt>
                <c:pt idx="94">
                  <c:v>611.61182456123879</c:v>
                </c:pt>
                <c:pt idx="95">
                  <c:v>603.11833247756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37.52981914986174</c:v>
                </c:pt>
                <c:pt idx="43">
                  <c:v>349.89727709048822</c:v>
                </c:pt>
                <c:pt idx="44">
                  <c:v>362.82754815538431</c:v>
                </c:pt>
                <c:pt idx="45">
                  <c:v>375.89979857779667</c:v>
                </c:pt>
                <c:pt idx="46">
                  <c:v>388.71218776493947</c:v>
                </c:pt>
                <c:pt idx="47">
                  <c:v>401.51671978527662</c:v>
                </c:pt>
                <c:pt idx="48">
                  <c:v>414.78302264472632</c:v>
                </c:pt>
                <c:pt idx="49">
                  <c:v>428.66296820068777</c:v>
                </c:pt>
                <c:pt idx="50">
                  <c:v>443.08956753251573</c:v>
                </c:pt>
                <c:pt idx="51">
                  <c:v>458.5266640567985</c:v>
                </c:pt>
                <c:pt idx="52">
                  <c:v>474.40107809203289</c:v>
                </c:pt>
                <c:pt idx="53">
                  <c:v>489.65440866415634</c:v>
                </c:pt>
                <c:pt idx="54">
                  <c:v>504.86698851466349</c:v>
                </c:pt>
                <c:pt idx="55">
                  <c:v>520.48530056210268</c:v>
                </c:pt>
                <c:pt idx="56">
                  <c:v>536.60861883238999</c:v>
                </c:pt>
                <c:pt idx="57">
                  <c:v>553.23755783214051</c:v>
                </c:pt>
                <c:pt idx="58">
                  <c:v>570.25449222369218</c:v>
                </c:pt>
                <c:pt idx="59">
                  <c:v>587.55120976816659</c:v>
                </c:pt>
                <c:pt idx="60">
                  <c:v>604.82892025530396</c:v>
                </c:pt>
                <c:pt idx="61">
                  <c:v>622.03482089453621</c:v>
                </c:pt>
                <c:pt idx="62">
                  <c:v>639.20306093453473</c:v>
                </c:pt>
                <c:pt idx="63">
                  <c:v>656.3043031857859</c:v>
                </c:pt>
                <c:pt idx="64">
                  <c:v>673.22324486998264</c:v>
                </c:pt>
                <c:pt idx="65">
                  <c:v>689.97637733343208</c:v>
                </c:pt>
                <c:pt idx="66">
                  <c:v>706.44553475011253</c:v>
                </c:pt>
                <c:pt idx="67">
                  <c:v>722.59616398931519</c:v>
                </c:pt>
                <c:pt idx="68">
                  <c:v>738.2347459895326</c:v>
                </c:pt>
                <c:pt idx="69">
                  <c:v>753.37064456511621</c:v>
                </c:pt>
                <c:pt idx="70">
                  <c:v>767.96801561835969</c:v>
                </c:pt>
                <c:pt idx="71">
                  <c:v>781.79258594719283</c:v>
                </c:pt>
                <c:pt idx="72">
                  <c:v>794.89890677081144</c:v>
                </c:pt>
                <c:pt idx="73">
                  <c:v>807.25412913671505</c:v>
                </c:pt>
                <c:pt idx="74">
                  <c:v>818.73993934477346</c:v>
                </c:pt>
                <c:pt idx="75">
                  <c:v>829.31292265872037</c:v>
                </c:pt>
                <c:pt idx="76">
                  <c:v>838.94394499144448</c:v>
                </c:pt>
                <c:pt idx="77">
                  <c:v>847.60386997704677</c:v>
                </c:pt>
                <c:pt idx="78">
                  <c:v>855.14077421524814</c:v>
                </c:pt>
                <c:pt idx="79">
                  <c:v>861.60739672626778</c:v>
                </c:pt>
                <c:pt idx="80">
                  <c:v>866.9854485549024</c:v>
                </c:pt>
                <c:pt idx="81">
                  <c:v>871.20034415952136</c:v>
                </c:pt>
                <c:pt idx="82">
                  <c:v>874.21029685063309</c:v>
                </c:pt>
                <c:pt idx="83">
                  <c:v>876.10468252711644</c:v>
                </c:pt>
                <c:pt idx="84">
                  <c:v>876.82643175635178</c:v>
                </c:pt>
                <c:pt idx="85">
                  <c:v>876.27988324923422</c:v>
                </c:pt>
                <c:pt idx="86">
                  <c:v>874.63640562534897</c:v>
                </c:pt>
                <c:pt idx="87">
                  <c:v>871.86312979091792</c:v>
                </c:pt>
                <c:pt idx="88">
                  <c:v>867.8228434008771</c:v>
                </c:pt>
                <c:pt idx="89">
                  <c:v>862.72085509304759</c:v>
                </c:pt>
                <c:pt idx="90">
                  <c:v>856.57469891295727</c:v>
                </c:pt>
                <c:pt idx="91">
                  <c:v>849.35992609035839</c:v>
                </c:pt>
                <c:pt idx="92">
                  <c:v>840.98935342284904</c:v>
                </c:pt>
                <c:pt idx="93">
                  <c:v>831.62482249391553</c:v>
                </c:pt>
                <c:pt idx="94">
                  <c:v>821.35130219029304</c:v>
                </c:pt>
                <c:pt idx="95">
                  <c:v>810.168380148425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6</c:v>
                </c:pt>
                <c:pt idx="1">
                  <c:v>49</c:v>
                </c:pt>
                <c:pt idx="2">
                  <c:v>49</c:v>
                </c:pt>
                <c:pt idx="3">
                  <c:v>60</c:v>
                </c:pt>
                <c:pt idx="4">
                  <c:v>56</c:v>
                </c:pt>
                <c:pt idx="5">
                  <c:v>56</c:v>
                </c:pt>
                <c:pt idx="6">
                  <c:v>62</c:v>
                </c:pt>
                <c:pt idx="7">
                  <c:v>62</c:v>
                </c:pt>
                <c:pt idx="8">
                  <c:v>60</c:v>
                </c:pt>
                <c:pt idx="9">
                  <c:v>59</c:v>
                </c:pt>
                <c:pt idx="10">
                  <c:v>66</c:v>
                </c:pt>
                <c:pt idx="11">
                  <c:v>71</c:v>
                </c:pt>
                <c:pt idx="12">
                  <c:v>88</c:v>
                </c:pt>
                <c:pt idx="13">
                  <c:v>87</c:v>
                </c:pt>
                <c:pt idx="14">
                  <c:v>93</c:v>
                </c:pt>
                <c:pt idx="15">
                  <c:v>96</c:v>
                </c:pt>
                <c:pt idx="16">
                  <c:v>98</c:v>
                </c:pt>
                <c:pt idx="17">
                  <c:v>112</c:v>
                </c:pt>
                <c:pt idx="18">
                  <c:v>138</c:v>
                </c:pt>
                <c:pt idx="19">
                  <c:v>143</c:v>
                </c:pt>
                <c:pt idx="20">
                  <c:v>154</c:v>
                </c:pt>
                <c:pt idx="21">
                  <c:v>178</c:v>
                </c:pt>
                <c:pt idx="22">
                  <c:v>187</c:v>
                </c:pt>
                <c:pt idx="23">
                  <c:v>197</c:v>
                </c:pt>
                <c:pt idx="24">
                  <c:v>240</c:v>
                </c:pt>
                <c:pt idx="25">
                  <c:v>290</c:v>
                </c:pt>
                <c:pt idx="26">
                  <c:v>308</c:v>
                </c:pt>
                <c:pt idx="27">
                  <c:v>319</c:v>
                </c:pt>
                <c:pt idx="28">
                  <c:v>340</c:v>
                </c:pt>
                <c:pt idx="29">
                  <c:v>342</c:v>
                </c:pt>
                <c:pt idx="30">
                  <c:v>355</c:v>
                </c:pt>
                <c:pt idx="31">
                  <c:v>435</c:v>
                </c:pt>
                <c:pt idx="32">
                  <c:v>519</c:v>
                </c:pt>
                <c:pt idx="33">
                  <c:v>570</c:v>
                </c:pt>
                <c:pt idx="34">
                  <c:v>572</c:v>
                </c:pt>
                <c:pt idx="35">
                  <c:v>593</c:v>
                </c:pt>
                <c:pt idx="36">
                  <c:v>590</c:v>
                </c:pt>
                <c:pt idx="37">
                  <c:v>606</c:v>
                </c:pt>
                <c:pt idx="38">
                  <c:v>683</c:v>
                </c:pt>
                <c:pt idx="39">
                  <c:v>700</c:v>
                </c:pt>
                <c:pt idx="40">
                  <c:v>697</c:v>
                </c:pt>
                <c:pt idx="41">
                  <c:v>711</c:v>
                </c:pt>
                <c:pt idx="42">
                  <c:v>753</c:v>
                </c:pt>
                <c:pt idx="43">
                  <c:v>736</c:v>
                </c:pt>
                <c:pt idx="44">
                  <c:v>750</c:v>
                </c:pt>
                <c:pt idx="45">
                  <c:v>833</c:v>
                </c:pt>
                <c:pt idx="46">
                  <c:v>7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747.65372799125305</c:v>
                </c:pt>
                <c:pt idx="43">
                  <c:v>770.88800157599303</c:v>
                </c:pt>
                <c:pt idx="44">
                  <c:v>794.07656161224054</c:v>
                </c:pt>
                <c:pt idx="45">
                  <c:v>816.23732205384761</c:v>
                </c:pt>
                <c:pt idx="46">
                  <c:v>836.41498188934509</c:v>
                </c:pt>
                <c:pt idx="47">
                  <c:v>855.13074759431049</c:v>
                </c:pt>
                <c:pt idx="48">
                  <c:v>873.36281809279603</c:v>
                </c:pt>
                <c:pt idx="49">
                  <c:v>891.46420687356863</c:v>
                </c:pt>
                <c:pt idx="50">
                  <c:v>909.27847720583304</c:v>
                </c:pt>
                <c:pt idx="51">
                  <c:v>927.84835133651382</c:v>
                </c:pt>
                <c:pt idx="52">
                  <c:v>945.90158012608595</c:v>
                </c:pt>
                <c:pt idx="53">
                  <c:v>961.14081496321637</c:v>
                </c:pt>
                <c:pt idx="54">
                  <c:v>974.89077090127171</c:v>
                </c:pt>
                <c:pt idx="55">
                  <c:v>988.17557953884159</c:v>
                </c:pt>
                <c:pt idx="56">
                  <c:v>1001.3051469441205</c:v>
                </c:pt>
                <c:pt idx="57">
                  <c:v>1014.4617238574451</c:v>
                </c:pt>
                <c:pt idx="58">
                  <c:v>1027.4563356486453</c:v>
                </c:pt>
                <c:pt idx="59">
                  <c:v>1040.1376483588526</c:v>
                </c:pt>
                <c:pt idx="60">
                  <c:v>1051.8941428110872</c:v>
                </c:pt>
                <c:pt idx="61">
                  <c:v>1062.757273767164</c:v>
                </c:pt>
                <c:pt idx="62">
                  <c:v>1072.8971278209483</c:v>
                </c:pt>
                <c:pt idx="63">
                  <c:v>1082.3788013899916</c:v>
                </c:pt>
                <c:pt idx="64">
                  <c:v>1091.0916569506467</c:v>
                </c:pt>
                <c:pt idx="65">
                  <c:v>1099.2117157272714</c:v>
                </c:pt>
                <c:pt idx="66">
                  <c:v>1106.5941330353114</c:v>
                </c:pt>
                <c:pt idx="67">
                  <c:v>1113.2949117646203</c:v>
                </c:pt>
                <c:pt idx="68">
                  <c:v>1119.0166854236213</c:v>
                </c:pt>
                <c:pt idx="69">
                  <c:v>1123.9082484512323</c:v>
                </c:pt>
                <c:pt idx="70">
                  <c:v>1128.036735663612</c:v>
                </c:pt>
                <c:pt idx="71">
                  <c:v>1131.0160859999041</c:v>
                </c:pt>
                <c:pt idx="72">
                  <c:v>1133.1104189684409</c:v>
                </c:pt>
                <c:pt idx="73">
                  <c:v>1134.3683863497122</c:v>
                </c:pt>
                <c:pt idx="74">
                  <c:v>1134.6475344642445</c:v>
                </c:pt>
                <c:pt idx="75">
                  <c:v>1133.9771831298583</c:v>
                </c:pt>
                <c:pt idx="76">
                  <c:v>1132.4042413708487</c:v>
                </c:pt>
                <c:pt idx="77">
                  <c:v>1129.971712402777</c:v>
                </c:pt>
                <c:pt idx="78">
                  <c:v>1126.4370153826183</c:v>
                </c:pt>
                <c:pt idx="79">
                  <c:v>1122.009698909904</c:v>
                </c:pt>
                <c:pt idx="80">
                  <c:v>1116.7226852369779</c:v>
                </c:pt>
                <c:pt idx="81">
                  <c:v>1110.4728843028215</c:v>
                </c:pt>
                <c:pt idx="82">
                  <c:v>1103.2383407446241</c:v>
                </c:pt>
                <c:pt idx="83">
                  <c:v>1095.2622416809304</c:v>
                </c:pt>
                <c:pt idx="84">
                  <c:v>1086.4555233831015</c:v>
                </c:pt>
                <c:pt idx="85">
                  <c:v>1076.63440090312</c:v>
                </c:pt>
                <c:pt idx="86">
                  <c:v>1066.1960092385837</c:v>
                </c:pt>
                <c:pt idx="87">
                  <c:v>1055.0679921882847</c:v>
                </c:pt>
                <c:pt idx="88">
                  <c:v>1042.9254375226435</c:v>
                </c:pt>
                <c:pt idx="89">
                  <c:v>1030.2219029720229</c:v>
                </c:pt>
                <c:pt idx="90">
                  <c:v>1016.9703738590636</c:v>
                </c:pt>
                <c:pt idx="91">
                  <c:v>1003.0788830275426</c:v>
                </c:pt>
                <c:pt idx="92">
                  <c:v>988.3420498568222</c:v>
                </c:pt>
                <c:pt idx="93">
                  <c:v>973.04446829841072</c:v>
                </c:pt>
                <c:pt idx="94">
                  <c:v>957.31367513673376</c:v>
                </c:pt>
                <c:pt idx="95">
                  <c:v>941.083257149373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749.30285804237906</c:v>
                </c:pt>
                <c:pt idx="43">
                  <c:v>774.77687282329134</c:v>
                </c:pt>
                <c:pt idx="44">
                  <c:v>800.84340615508495</c:v>
                </c:pt>
                <c:pt idx="45">
                  <c:v>826.5420367359045</c:v>
                </c:pt>
                <c:pt idx="46">
                  <c:v>850.94966620259788</c:v>
                </c:pt>
                <c:pt idx="47">
                  <c:v>874.58975717117471</c:v>
                </c:pt>
                <c:pt idx="48">
                  <c:v>898.45276437610664</c:v>
                </c:pt>
                <c:pt idx="49">
                  <c:v>922.87743207384506</c:v>
                </c:pt>
                <c:pt idx="50">
                  <c:v>947.70713462620324</c:v>
                </c:pt>
                <c:pt idx="51">
                  <c:v>973.9655646190057</c:v>
                </c:pt>
                <c:pt idx="52">
                  <c:v>1000.3722740581611</c:v>
                </c:pt>
                <c:pt idx="53">
                  <c:v>1024.6046138470761</c:v>
                </c:pt>
                <c:pt idx="54">
                  <c:v>1047.965979314816</c:v>
                </c:pt>
                <c:pt idx="55">
                  <c:v>1071.4487493618567</c:v>
                </c:pt>
                <c:pt idx="56">
                  <c:v>1095.3133864259769</c:v>
                </c:pt>
                <c:pt idx="57">
                  <c:v>1119.6441942468095</c:v>
                </c:pt>
                <c:pt idx="58">
                  <c:v>1144.2223215055083</c:v>
                </c:pt>
                <c:pt idx="59">
                  <c:v>1168.8503819764078</c:v>
                </c:pt>
                <c:pt idx="60">
                  <c:v>1192.8864153873467</c:v>
                </c:pt>
                <c:pt idx="61">
                  <c:v>1216.2981509122815</c:v>
                </c:pt>
                <c:pt idx="62">
                  <c:v>1239.209226398521</c:v>
                </c:pt>
                <c:pt idx="63">
                  <c:v>1261.6261301316699</c:v>
                </c:pt>
                <c:pt idx="64">
                  <c:v>1283.3730720861636</c:v>
                </c:pt>
                <c:pt idx="65">
                  <c:v>1304.5649479162341</c:v>
                </c:pt>
                <c:pt idx="66">
                  <c:v>1325.0080787983804</c:v>
                </c:pt>
                <c:pt idx="67">
                  <c:v>1344.7012968125948</c:v>
                </c:pt>
                <c:pt idx="68">
                  <c:v>1363.296087560647</c:v>
                </c:pt>
                <c:pt idx="69">
                  <c:v>1380.8881855002999</c:v>
                </c:pt>
                <c:pt idx="70">
                  <c:v>1397.4891234519928</c:v>
                </c:pt>
                <c:pt idx="71">
                  <c:v>1412.6602451701931</c:v>
                </c:pt>
                <c:pt idx="72">
                  <c:v>1426.6106859897975</c:v>
                </c:pt>
                <c:pt idx="73">
                  <c:v>1439.3426218913253</c:v>
                </c:pt>
                <c:pt idx="74">
                  <c:v>1450.6671256171844</c:v>
                </c:pt>
                <c:pt idx="75">
                  <c:v>1460.5691173432692</c:v>
                </c:pt>
                <c:pt idx="76">
                  <c:v>1469.0537594257237</c:v>
                </c:pt>
                <c:pt idx="77">
                  <c:v>1476.1284340304055</c:v>
                </c:pt>
                <c:pt idx="78">
                  <c:v>1481.5149684236542</c:v>
                </c:pt>
                <c:pt idx="79">
                  <c:v>1485.3928253101165</c:v>
                </c:pt>
                <c:pt idx="80">
                  <c:v>1487.7676151056608</c:v>
                </c:pt>
                <c:pt idx="81">
                  <c:v>1488.5126133892556</c:v>
                </c:pt>
                <c:pt idx="82">
                  <c:v>1487.5848059127879</c:v>
                </c:pt>
                <c:pt idx="83">
                  <c:v>1485.2121564060976</c:v>
                </c:pt>
                <c:pt idx="84">
                  <c:v>1481.2935016590145</c:v>
                </c:pt>
                <c:pt idx="85">
                  <c:v>1475.636848975827</c:v>
                </c:pt>
                <c:pt idx="86">
                  <c:v>1468.6349786431838</c:v>
                </c:pt>
                <c:pt idx="87">
                  <c:v>1460.2148912121506</c:v>
                </c:pt>
                <c:pt idx="88">
                  <c:v>1450.0534169949676</c:v>
                </c:pt>
                <c:pt idx="89">
                  <c:v>1438.6113316192509</c:v>
                </c:pt>
                <c:pt idx="90">
                  <c:v>1425.9101874496428</c:v>
                </c:pt>
                <c:pt idx="91">
                  <c:v>1411.8705382432213</c:v>
                </c:pt>
                <c:pt idx="92">
                  <c:v>1396.2861900179237</c:v>
                </c:pt>
                <c:pt idx="93">
                  <c:v>1379.4709882766072</c:v>
                </c:pt>
                <c:pt idx="94">
                  <c:v>1361.5730032955694</c:v>
                </c:pt>
                <c:pt idx="95">
                  <c:v>1342.54873678193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750.96254323046571</c:v>
                </c:pt>
                <c:pt idx="43">
                  <c:v>778.70335251534789</c:v>
                </c:pt>
                <c:pt idx="44">
                  <c:v>807.70196649942625</c:v>
                </c:pt>
                <c:pt idx="45">
                  <c:v>837.03178843379771</c:v>
                </c:pt>
                <c:pt idx="46">
                  <c:v>865.81541185987521</c:v>
                </c:pt>
                <c:pt idx="47">
                  <c:v>894.59291098305459</c:v>
                </c:pt>
                <c:pt idx="48">
                  <c:v>924.3820514194083</c:v>
                </c:pt>
                <c:pt idx="49">
                  <c:v>955.52260922485141</c:v>
                </c:pt>
                <c:pt idx="50">
                  <c:v>987.87307595745096</c:v>
                </c:pt>
                <c:pt idx="51">
                  <c:v>1022.4530263278618</c:v>
                </c:pt>
                <c:pt idx="52">
                  <c:v>1057.9880945554182</c:v>
                </c:pt>
                <c:pt idx="53">
                  <c:v>1092.143493031962</c:v>
                </c:pt>
                <c:pt idx="54">
                  <c:v>1126.2131240611313</c:v>
                </c:pt>
                <c:pt idx="55">
                  <c:v>1161.1677581350539</c:v>
                </c:pt>
                <c:pt idx="56">
                  <c:v>1197.2266426620781</c:v>
                </c:pt>
                <c:pt idx="57">
                  <c:v>1234.3817820757799</c:v>
                </c:pt>
                <c:pt idx="58">
                  <c:v>1272.3877871144905</c:v>
                </c:pt>
                <c:pt idx="59">
                  <c:v>1311.0018600746055</c:v>
                </c:pt>
                <c:pt idx="60">
                  <c:v>1349.549336299993</c:v>
                </c:pt>
                <c:pt idx="61">
                  <c:v>1387.9288009913466</c:v>
                </c:pt>
                <c:pt idx="62">
                  <c:v>1426.2089310720685</c:v>
                </c:pt>
                <c:pt idx="63">
                  <c:v>1464.3259811756877</c:v>
                </c:pt>
                <c:pt idx="64">
                  <c:v>1502.0242840336066</c:v>
                </c:pt>
                <c:pt idx="65">
                  <c:v>1539.3402076466111</c:v>
                </c:pt>
                <c:pt idx="66">
                  <c:v>1576.0113346811618</c:v>
                </c:pt>
                <c:pt idx="67">
                  <c:v>1611.9566135148621</c:v>
                </c:pt>
                <c:pt idx="68">
                  <c:v>1646.7512433933841</c:v>
                </c:pt>
                <c:pt idx="69">
                  <c:v>1680.4106200762744</c:v>
                </c:pt>
                <c:pt idx="70">
                  <c:v>1712.8616294146746</c:v>
                </c:pt>
                <c:pt idx="71">
                  <c:v>1743.5825866928112</c:v>
                </c:pt>
                <c:pt idx="72">
                  <c:v>1772.6963359448075</c:v>
                </c:pt>
                <c:pt idx="73">
                  <c:v>1800.126801872515</c:v>
                </c:pt>
                <c:pt idx="74">
                  <c:v>1825.6066516243116</c:v>
                </c:pt>
                <c:pt idx="75">
                  <c:v>1849.0447448993573</c:v>
                </c:pt>
                <c:pt idx="76">
                  <c:v>1870.3735484848703</c:v>
                </c:pt>
                <c:pt idx="77">
                  <c:v>1889.5350291318346</c:v>
                </c:pt>
                <c:pt idx="78">
                  <c:v>1906.1871854908095</c:v>
                </c:pt>
                <c:pt idx="79">
                  <c:v>1920.4531120018551</c:v>
                </c:pt>
                <c:pt idx="80">
                  <c:v>1932.2871044278756</c:v>
                </c:pt>
                <c:pt idx="81">
                  <c:v>1941.5173930294577</c:v>
                </c:pt>
                <c:pt idx="82">
                  <c:v>1948.0613655921736</c:v>
                </c:pt>
                <c:pt idx="83">
                  <c:v>1952.116339052707</c:v>
                </c:pt>
                <c:pt idx="84">
                  <c:v>1953.5569196859258</c:v>
                </c:pt>
                <c:pt idx="85">
                  <c:v>1952.1741943788181</c:v>
                </c:pt>
                <c:pt idx="86">
                  <c:v>1948.3513671712917</c:v>
                </c:pt>
                <c:pt idx="87">
                  <c:v>1942.013077602167</c:v>
                </c:pt>
                <c:pt idx="88">
                  <c:v>1932.8396480721233</c:v>
                </c:pt>
                <c:pt idx="89">
                  <c:v>1921.3042260831915</c:v>
                </c:pt>
                <c:pt idx="90">
                  <c:v>1907.4453571093113</c:v>
                </c:pt>
                <c:pt idx="91">
                  <c:v>1891.2076550625554</c:v>
                </c:pt>
                <c:pt idx="92">
                  <c:v>1872.3984577631072</c:v>
                </c:pt>
                <c:pt idx="93">
                  <c:v>1851.3779148244948</c:v>
                </c:pt>
                <c:pt idx="94">
                  <c:v>1828.334037482595</c:v>
                </c:pt>
                <c:pt idx="95">
                  <c:v>1803.26774230471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601</c:v>
                </c:pt>
                <c:pt idx="1">
                  <c:v>628</c:v>
                </c:pt>
                <c:pt idx="2">
                  <c:v>653</c:v>
                </c:pt>
                <c:pt idx="3">
                  <c:v>706</c:v>
                </c:pt>
                <c:pt idx="4">
                  <c:v>746</c:v>
                </c:pt>
                <c:pt idx="5">
                  <c:v>799</c:v>
                </c:pt>
                <c:pt idx="6">
                  <c:v>838</c:v>
                </c:pt>
                <c:pt idx="7">
                  <c:v>889</c:v>
                </c:pt>
                <c:pt idx="8">
                  <c:v>919</c:v>
                </c:pt>
                <c:pt idx="9">
                  <c:v>953</c:v>
                </c:pt>
                <c:pt idx="10">
                  <c:v>1033</c:v>
                </c:pt>
                <c:pt idx="11">
                  <c:v>1096</c:v>
                </c:pt>
                <c:pt idx="12">
                  <c:v>1161</c:v>
                </c:pt>
                <c:pt idx="13">
                  <c:v>1220</c:v>
                </c:pt>
                <c:pt idx="14">
                  <c:v>1303</c:v>
                </c:pt>
                <c:pt idx="15">
                  <c:v>1373</c:v>
                </c:pt>
                <c:pt idx="16">
                  <c:v>1424</c:v>
                </c:pt>
                <c:pt idx="17">
                  <c:v>1557</c:v>
                </c:pt>
                <c:pt idx="18">
                  <c:v>1699</c:v>
                </c:pt>
                <c:pt idx="19">
                  <c:v>1816</c:v>
                </c:pt>
                <c:pt idx="20">
                  <c:v>1938</c:v>
                </c:pt>
                <c:pt idx="21">
                  <c:v>2100</c:v>
                </c:pt>
                <c:pt idx="22">
                  <c:v>2212</c:v>
                </c:pt>
                <c:pt idx="23">
                  <c:v>2323</c:v>
                </c:pt>
                <c:pt idx="24">
                  <c:v>2541</c:v>
                </c:pt>
                <c:pt idx="25">
                  <c:v>2804</c:v>
                </c:pt>
                <c:pt idx="26">
                  <c:v>3044</c:v>
                </c:pt>
                <c:pt idx="27">
                  <c:v>3213</c:v>
                </c:pt>
                <c:pt idx="28">
                  <c:v>3485</c:v>
                </c:pt>
                <c:pt idx="29">
                  <c:v>3674</c:v>
                </c:pt>
                <c:pt idx="30">
                  <c:v>3878</c:v>
                </c:pt>
                <c:pt idx="31">
                  <c:v>4292</c:v>
                </c:pt>
                <c:pt idx="32">
                  <c:v>4683</c:v>
                </c:pt>
                <c:pt idx="33">
                  <c:v>5068</c:v>
                </c:pt>
                <c:pt idx="34">
                  <c:v>5455</c:v>
                </c:pt>
                <c:pt idx="35">
                  <c:v>5811</c:v>
                </c:pt>
                <c:pt idx="36">
                  <c:v>6091</c:v>
                </c:pt>
                <c:pt idx="37">
                  <c:v>6368</c:v>
                </c:pt>
                <c:pt idx="38">
                  <c:v>6904</c:v>
                </c:pt>
                <c:pt idx="39">
                  <c:v>7439</c:v>
                </c:pt>
                <c:pt idx="40">
                  <c:v>7902</c:v>
                </c:pt>
                <c:pt idx="41">
                  <c:v>8392</c:v>
                </c:pt>
                <c:pt idx="42">
                  <c:v>8922</c:v>
                </c:pt>
                <c:pt idx="43">
                  <c:v>9289</c:v>
                </c:pt>
                <c:pt idx="44">
                  <c:v>9628</c:v>
                </c:pt>
                <c:pt idx="45">
                  <c:v>10282</c:v>
                </c:pt>
                <c:pt idx="46">
                  <c:v>107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8776.1919281880491</c:v>
                </c:pt>
                <c:pt idx="43">
                  <c:v>9222.4999517273154</c:v>
                </c:pt>
                <c:pt idx="44">
                  <c:v>9678.1599510149736</c:v>
                </c:pt>
                <c:pt idx="45">
                  <c:v>10145.105870684472</c:v>
                </c:pt>
                <c:pt idx="46">
                  <c:v>10623.867288922789</c:v>
                </c:pt>
                <c:pt idx="47">
                  <c:v>11111.864161385089</c:v>
                </c:pt>
                <c:pt idx="48">
                  <c:v>11609.067940833571</c:v>
                </c:pt>
                <c:pt idx="49">
                  <c:v>12113.581872592711</c:v>
                </c:pt>
                <c:pt idx="50">
                  <c:v>12624.496346504182</c:v>
                </c:pt>
                <c:pt idx="51">
                  <c:v>13142.890771395787</c:v>
                </c:pt>
                <c:pt idx="52">
                  <c:v>13667.115731774906</c:v>
                </c:pt>
                <c:pt idx="53">
                  <c:v>14196.939560553576</c:v>
                </c:pt>
                <c:pt idx="54">
                  <c:v>14733.725323032784</c:v>
                </c:pt>
                <c:pt idx="55">
                  <c:v>15275.525238334714</c:v>
                </c:pt>
                <c:pt idx="56">
                  <c:v>15821.685128832069</c:v>
                </c:pt>
                <c:pt idx="57">
                  <c:v>16372.686913275158</c:v>
                </c:pt>
                <c:pt idx="58">
                  <c:v>16927.651216965663</c:v>
                </c:pt>
                <c:pt idx="59">
                  <c:v>17485.824097695127</c:v>
                </c:pt>
                <c:pt idx="60">
                  <c:v>18047.29797863221</c:v>
                </c:pt>
                <c:pt idx="61">
                  <c:v>18611.887891283102</c:v>
                </c:pt>
                <c:pt idx="62">
                  <c:v>19178.676839199827</c:v>
                </c:pt>
                <c:pt idx="63">
                  <c:v>19747.067678033338</c:v>
                </c:pt>
                <c:pt idx="64">
                  <c:v>20317.048591975727</c:v>
                </c:pt>
                <c:pt idx="65">
                  <c:v>20887.544757999698</c:v>
                </c:pt>
                <c:pt idx="66">
                  <c:v>21458.219829308451</c:v>
                </c:pt>
                <c:pt idx="67">
                  <c:v>22029.305785881032</c:v>
                </c:pt>
                <c:pt idx="68">
                  <c:v>22599.605850864849</c:v>
                </c:pt>
                <c:pt idx="69">
                  <c:v>23168.835799318742</c:v>
                </c:pt>
                <c:pt idx="70">
                  <c:v>23736.511808217205</c:v>
                </c:pt>
                <c:pt idx="71">
                  <c:v>24302.152274457119</c:v>
                </c:pt>
                <c:pt idx="72">
                  <c:v>24865.289031716573</c:v>
                </c:pt>
                <c:pt idx="73">
                  <c:v>25425.467235019529</c:v>
                </c:pt>
                <c:pt idx="74">
                  <c:v>25982.241691247498</c:v>
                </c:pt>
                <c:pt idx="75">
                  <c:v>26535.177087967113</c:v>
                </c:pt>
                <c:pt idx="76">
                  <c:v>27083.84945551294</c:v>
                </c:pt>
                <c:pt idx="77">
                  <c:v>27627.847473953152</c:v>
                </c:pt>
                <c:pt idx="78">
                  <c:v>28166.774678643458</c:v>
                </c:pt>
                <c:pt idx="79">
                  <c:v>28700.250775272212</c:v>
                </c:pt>
                <c:pt idx="80">
                  <c:v>29227.912242239574</c:v>
                </c:pt>
                <c:pt idx="81">
                  <c:v>29749.412919043996</c:v>
                </c:pt>
                <c:pt idx="82">
                  <c:v>30264.424408241513</c:v>
                </c:pt>
                <c:pt idx="83">
                  <c:v>30772.636338852459</c:v>
                </c:pt>
                <c:pt idx="84">
                  <c:v>31273.756891433972</c:v>
                </c:pt>
                <c:pt idx="85">
                  <c:v>31767.51322160702</c:v>
                </c:pt>
                <c:pt idx="86">
                  <c:v>32253.651642173718</c:v>
                </c:pt>
                <c:pt idx="87">
                  <c:v>32731.937837192563</c:v>
                </c:pt>
                <c:pt idx="88">
                  <c:v>33202.157042391074</c:v>
                </c:pt>
                <c:pt idx="89">
                  <c:v>33664.113970645951</c:v>
                </c:pt>
                <c:pt idx="90">
                  <c:v>34117.632620229371</c:v>
                </c:pt>
                <c:pt idx="91">
                  <c:v>34562.556238388977</c:v>
                </c:pt>
                <c:pt idx="92">
                  <c:v>34998.747102494293</c:v>
                </c:pt>
                <c:pt idx="93">
                  <c:v>35426.086171801144</c:v>
                </c:pt>
                <c:pt idx="94">
                  <c:v>35844.472802423188</c:v>
                </c:pt>
                <c:pt idx="95">
                  <c:v>36253.8243605847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8785.1944352793253</c:v>
                </c:pt>
                <c:pt idx="43">
                  <c:v>9244.1095942403135</c:v>
                </c:pt>
                <c:pt idx="44">
                  <c:v>9716.4064503475893</c:v>
                </c:pt>
                <c:pt idx="45">
                  <c:v>10204.428597163411</c:v>
                </c:pt>
                <c:pt idx="46">
                  <c:v>10709.10103558105</c:v>
                </c:pt>
                <c:pt idx="47">
                  <c:v>11228.217396543881</c:v>
                </c:pt>
                <c:pt idx="48">
                  <c:v>11762.072279501188</c:v>
                </c:pt>
                <c:pt idx="49">
                  <c:v>12309.056115929863</c:v>
                </c:pt>
                <c:pt idx="50">
                  <c:v>12868.506603850044</c:v>
                </c:pt>
                <c:pt idx="51">
                  <c:v>13441.716338589245</c:v>
                </c:pt>
                <c:pt idx="52">
                  <c:v>14027.226325498279</c:v>
                </c:pt>
                <c:pt idx="53">
                  <c:v>14624.960851436743</c:v>
                </c:pt>
                <c:pt idx="54">
                  <c:v>15236.409134839134</c:v>
                </c:pt>
                <c:pt idx="55">
                  <c:v>15859.720789570951</c:v>
                </c:pt>
                <c:pt idx="56">
                  <c:v>16494.308259645059</c:v>
                </c:pt>
                <c:pt idx="57">
                  <c:v>17140.68842169012</c:v>
                </c:pt>
                <c:pt idx="58">
                  <c:v>17797.990585320513</c:v>
                </c:pt>
                <c:pt idx="59">
                  <c:v>18465.442133264907</c:v>
                </c:pt>
                <c:pt idx="60">
                  <c:v>19143.083968595391</c:v>
                </c:pt>
                <c:pt idx="61">
                  <c:v>19830.647682946288</c:v>
                </c:pt>
                <c:pt idx="62">
                  <c:v>20527.104433823159</c:v>
                </c:pt>
                <c:pt idx="63">
                  <c:v>21231.713380962261</c:v>
                </c:pt>
                <c:pt idx="64">
                  <c:v>21944.288333662487</c:v>
                </c:pt>
                <c:pt idx="65">
                  <c:v>22663.561944936628</c:v>
                </c:pt>
                <c:pt idx="66">
                  <c:v>23388.983736911676</c:v>
                </c:pt>
                <c:pt idx="67">
                  <c:v>24120.541572201771</c:v>
                </c:pt>
                <c:pt idx="68">
                  <c:v>24856.770543267616</c:v>
                </c:pt>
                <c:pt idx="69">
                  <c:v>25597.092801957722</c:v>
                </c:pt>
                <c:pt idx="70">
                  <c:v>26340.709110251235</c:v>
                </c:pt>
                <c:pt idx="71">
                  <c:v>27086.802827917723</c:v>
                </c:pt>
                <c:pt idx="72">
                  <c:v>27834.557099731948</c:v>
                </c:pt>
                <c:pt idx="73">
                  <c:v>28583.156223718775</c:v>
                </c:pt>
                <c:pt idx="74">
                  <c:v>29331.782118833038</c:v>
                </c:pt>
                <c:pt idx="75">
                  <c:v>30079.61637047484</c:v>
                </c:pt>
                <c:pt idx="76">
                  <c:v>30825.844042946399</c:v>
                </c:pt>
                <c:pt idx="77">
                  <c:v>31569.657280114807</c:v>
                </c:pt>
                <c:pt idx="78">
                  <c:v>32310.260221682707</c:v>
                </c:pt>
                <c:pt idx="79">
                  <c:v>33046.872676103798</c:v>
                </c:pt>
                <c:pt idx="80">
                  <c:v>33778.732779040918</c:v>
                </c:pt>
                <c:pt idx="81">
                  <c:v>34505.099592856466</c:v>
                </c:pt>
                <c:pt idx="82">
                  <c:v>35225.255418304223</c:v>
                </c:pt>
                <c:pt idx="83">
                  <c:v>35938.50786223296</c:v>
                </c:pt>
                <c:pt idx="84">
                  <c:v>36644.192169150396</c:v>
                </c:pt>
                <c:pt idx="85">
                  <c:v>37341.673329584955</c:v>
                </c:pt>
                <c:pt idx="86">
                  <c:v>38030.34776112999</c:v>
                </c:pt>
                <c:pt idx="87">
                  <c:v>38709.644914808719</c:v>
                </c:pt>
                <c:pt idx="88">
                  <c:v>39379.028723206517</c:v>
                </c:pt>
                <c:pt idx="89">
                  <c:v>40037.998578456994</c:v>
                </c:pt>
                <c:pt idx="90">
                  <c:v>40686.090016525493</c:v>
                </c:pt>
                <c:pt idx="91">
                  <c:v>41322.875489522332</c:v>
                </c:pt>
                <c:pt idx="92">
                  <c:v>41947.964757167589</c:v>
                </c:pt>
                <c:pt idx="93">
                  <c:v>42561.00497362607</c:v>
                </c:pt>
                <c:pt idx="94">
                  <c:v>43161.680735770875</c:v>
                </c:pt>
                <c:pt idx="95">
                  <c:v>43749.7138756010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8794.2542889358119</c:v>
                </c:pt>
                <c:pt idx="43">
                  <c:v>9265.9262891918515</c:v>
                </c:pt>
                <c:pt idx="44">
                  <c:v>9755.1636288459868</c:v>
                </c:pt>
                <c:pt idx="45">
                  <c:v>10264.793203547586</c:v>
                </c:pt>
                <c:pt idx="46">
                  <c:v>10796.219800205517</c:v>
                </c:pt>
                <c:pt idx="47">
                  <c:v>11347.704742898619</c:v>
                </c:pt>
                <c:pt idx="48">
                  <c:v>11919.968434984619</c:v>
                </c:pt>
                <c:pt idx="49">
                  <c:v>12511.7985656929</c:v>
                </c:pt>
                <c:pt idx="50">
                  <c:v>13122.89584843754</c:v>
                </c:pt>
                <c:pt idx="51">
                  <c:v>13754.885929786029</c:v>
                </c:pt>
                <c:pt idx="52">
                  <c:v>14406.622378160428</c:v>
                </c:pt>
                <c:pt idx="53">
                  <c:v>15078.307478545878</c:v>
                </c:pt>
                <c:pt idx="54">
                  <c:v>15771.676688761028</c:v>
                </c:pt>
                <c:pt idx="55">
                  <c:v>16485.093033776902</c:v>
                </c:pt>
                <c:pt idx="56">
                  <c:v>17218.146220252333</c:v>
                </c:pt>
                <c:pt idx="57">
                  <c:v>17971.490785190352</c:v>
                </c:pt>
                <c:pt idx="58">
                  <c:v>18744.358359950478</c:v>
                </c:pt>
                <c:pt idx="59">
                  <c:v>19536.04042158238</c:v>
                </c:pt>
                <c:pt idx="60">
                  <c:v>20346.595314949009</c:v>
                </c:pt>
                <c:pt idx="61">
                  <c:v>21175.724836163317</c:v>
                </c:pt>
                <c:pt idx="62">
                  <c:v>22022.32494247716</c:v>
                </c:pt>
                <c:pt idx="63">
                  <c:v>22885.529897400294</c:v>
                </c:pt>
                <c:pt idx="64">
                  <c:v>23764.97895250946</c:v>
                </c:pt>
                <c:pt idx="65">
                  <c:v>24659.194154696459</c:v>
                </c:pt>
                <c:pt idx="66">
                  <c:v>25567.374377661308</c:v>
                </c:pt>
                <c:pt idx="67">
                  <c:v>26489.205841634459</c:v>
                </c:pt>
                <c:pt idx="68">
                  <c:v>27422.877501819843</c:v>
                </c:pt>
                <c:pt idx="69">
                  <c:v>28367.419774330381</c:v>
                </c:pt>
                <c:pt idx="70">
                  <c:v>29321.600734113545</c:v>
                </c:pt>
                <c:pt idx="71">
                  <c:v>30284.133211488777</c:v>
                </c:pt>
                <c:pt idx="72">
                  <c:v>31253.700038418479</c:v>
                </c:pt>
                <c:pt idx="73">
                  <c:v>32228.95819905811</c:v>
                </c:pt>
                <c:pt idx="74">
                  <c:v>33208.536651835311</c:v>
                </c:pt>
                <c:pt idx="75">
                  <c:v>34191.041988560639</c:v>
                </c:pt>
                <c:pt idx="76">
                  <c:v>35175.066672993977</c:v>
                </c:pt>
                <c:pt idx="77">
                  <c:v>36159.197114754497</c:v>
                </c:pt>
                <c:pt idx="78">
                  <c:v>37142.023663643435</c:v>
                </c:pt>
                <c:pt idx="79">
                  <c:v>38122.148976411234</c:v>
                </c:pt>
                <c:pt idx="80">
                  <c:v>39098.195028545269</c:v>
                </c:pt>
                <c:pt idx="81">
                  <c:v>40068.810001520687</c:v>
                </c:pt>
                <c:pt idx="82">
                  <c:v>41032.67471478958</c:v>
                </c:pt>
                <c:pt idx="83">
                  <c:v>41988.508611238416</c:v>
                </c:pt>
                <c:pt idx="84">
                  <c:v>42935.075905802922</c:v>
                </c:pt>
                <c:pt idx="85">
                  <c:v>43871.191235154991</c:v>
                </c:pt>
                <c:pt idx="86">
                  <c:v>44795.72450593581</c:v>
                </c:pt>
                <c:pt idx="87">
                  <c:v>45707.605371621736</c:v>
                </c:pt>
                <c:pt idx="88">
                  <c:v>46605.827221623338</c:v>
                </c:pt>
                <c:pt idx="89">
                  <c:v>47489.450249930203</c:v>
                </c:pt>
                <c:pt idx="90">
                  <c:v>48357.603821739023</c:v>
                </c:pt>
                <c:pt idx="91">
                  <c:v>49209.488653823202</c:v>
                </c:pt>
                <c:pt idx="92">
                  <c:v>50044.378181448665</c:v>
                </c:pt>
                <c:pt idx="93">
                  <c:v>50861.619223432222</c:v>
                </c:pt>
                <c:pt idx="94">
                  <c:v>51660.632310680339</c:v>
                </c:pt>
                <c:pt idx="95">
                  <c:v>52440.9114085279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08</c:v>
                </c:pt>
                <c:pt idx="1">
                  <c:v>115</c:v>
                </c:pt>
                <c:pt idx="2">
                  <c:v>120</c:v>
                </c:pt>
                <c:pt idx="3">
                  <c:v>131</c:v>
                </c:pt>
                <c:pt idx="4">
                  <c:v>140</c:v>
                </c:pt>
                <c:pt idx="5">
                  <c:v>150</c:v>
                </c:pt>
                <c:pt idx="6">
                  <c:v>154</c:v>
                </c:pt>
                <c:pt idx="7">
                  <c:v>158</c:v>
                </c:pt>
                <c:pt idx="8">
                  <c:v>161</c:v>
                </c:pt>
                <c:pt idx="9">
                  <c:v>170</c:v>
                </c:pt>
                <c:pt idx="10">
                  <c:v>178</c:v>
                </c:pt>
                <c:pt idx="11">
                  <c:v>187</c:v>
                </c:pt>
                <c:pt idx="12">
                  <c:v>194</c:v>
                </c:pt>
                <c:pt idx="13">
                  <c:v>205</c:v>
                </c:pt>
                <c:pt idx="14">
                  <c:v>209</c:v>
                </c:pt>
                <c:pt idx="15">
                  <c:v>215</c:v>
                </c:pt>
                <c:pt idx="16">
                  <c:v>219</c:v>
                </c:pt>
                <c:pt idx="17">
                  <c:v>239</c:v>
                </c:pt>
                <c:pt idx="18">
                  <c:v>252</c:v>
                </c:pt>
                <c:pt idx="19">
                  <c:v>261</c:v>
                </c:pt>
                <c:pt idx="20">
                  <c:v>271</c:v>
                </c:pt>
                <c:pt idx="21">
                  <c:v>288</c:v>
                </c:pt>
                <c:pt idx="22">
                  <c:v>304</c:v>
                </c:pt>
                <c:pt idx="23">
                  <c:v>319</c:v>
                </c:pt>
                <c:pt idx="24">
                  <c:v>329</c:v>
                </c:pt>
                <c:pt idx="25">
                  <c:v>353</c:v>
                </c:pt>
                <c:pt idx="26">
                  <c:v>380</c:v>
                </c:pt>
                <c:pt idx="27">
                  <c:v>402</c:v>
                </c:pt>
                <c:pt idx="28">
                  <c:v>430</c:v>
                </c:pt>
                <c:pt idx="29">
                  <c:v>447</c:v>
                </c:pt>
                <c:pt idx="30">
                  <c:v>469</c:v>
                </c:pt>
                <c:pt idx="31">
                  <c:v>500</c:v>
                </c:pt>
                <c:pt idx="32">
                  <c:v>555</c:v>
                </c:pt>
                <c:pt idx="33">
                  <c:v>612</c:v>
                </c:pt>
                <c:pt idx="34">
                  <c:v>647</c:v>
                </c:pt>
                <c:pt idx="35">
                  <c:v>687</c:v>
                </c:pt>
                <c:pt idx="36">
                  <c:v>722</c:v>
                </c:pt>
                <c:pt idx="37">
                  <c:v>755</c:v>
                </c:pt>
                <c:pt idx="38">
                  <c:v>812</c:v>
                </c:pt>
                <c:pt idx="39">
                  <c:v>868</c:v>
                </c:pt>
                <c:pt idx="40">
                  <c:v>906</c:v>
                </c:pt>
                <c:pt idx="41">
                  <c:v>948</c:v>
                </c:pt>
                <c:pt idx="42">
                  <c:v>999</c:v>
                </c:pt>
                <c:pt idx="43">
                  <c:v>1051</c:v>
                </c:pt>
                <c:pt idx="44">
                  <c:v>1086</c:v>
                </c:pt>
                <c:pt idx="45">
                  <c:v>1158</c:v>
                </c:pt>
                <c:pt idx="46">
                  <c:v>12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992.38856703609974</c:v>
                </c:pt>
                <c:pt idx="43">
                  <c:v>1041.7928154295839</c:v>
                </c:pt>
                <c:pt idx="44">
                  <c:v>1092.244474556192</c:v>
                </c:pt>
                <c:pt idx="45">
                  <c:v>1143.9579840998551</c:v>
                </c:pt>
                <c:pt idx="46">
                  <c:v>1196.9921363618266</c:v>
                </c:pt>
                <c:pt idx="47">
                  <c:v>1251.0553609420783</c:v>
                </c:pt>
                <c:pt idx="48">
                  <c:v>1306.1411637082958</c:v>
                </c:pt>
                <c:pt idx="49">
                  <c:v>1362.0339669006989</c:v>
                </c:pt>
                <c:pt idx="50">
                  <c:v>1418.6375739432717</c:v>
                </c:pt>
                <c:pt idx="51">
                  <c:v>1476.0717620473981</c:v>
                </c:pt>
                <c:pt idx="52">
                  <c:v>1534.1490948911726</c:v>
                </c:pt>
                <c:pt idx="53">
                  <c:v>1592.8460095049454</c:v>
                </c:pt>
                <c:pt idx="54">
                  <c:v>1652.3114031903403</c:v>
                </c:pt>
                <c:pt idx="55">
                  <c:v>1712.3298208683123</c:v>
                </c:pt>
                <c:pt idx="56">
                  <c:v>1772.828494912942</c:v>
                </c:pt>
                <c:pt idx="57">
                  <c:v>1833.8610643018148</c:v>
                </c:pt>
                <c:pt idx="58">
                  <c:v>1895.3308988537538</c:v>
                </c:pt>
                <c:pt idx="59">
                  <c:v>1957.1520308434422</c:v>
                </c:pt>
                <c:pt idx="60">
                  <c:v>2019.3329355323215</c:v>
                </c:pt>
                <c:pt idx="61">
                  <c:v>2081.8577591094795</c:v>
                </c:pt>
                <c:pt idx="62">
                  <c:v>2144.622210716735</c:v>
                </c:pt>
                <c:pt idx="63">
                  <c:v>2207.5602884454247</c:v>
                </c:pt>
                <c:pt idx="64">
                  <c:v>2270.6725569279847</c:v>
                </c:pt>
                <c:pt idx="65">
                  <c:v>2333.8401237688195</c:v>
                </c:pt>
                <c:pt idx="66">
                  <c:v>2397.0248828461918</c:v>
                </c:pt>
                <c:pt idx="67">
                  <c:v>2460.2500000521595</c:v>
                </c:pt>
                <c:pt idx="68">
                  <c:v>2523.3855380948366</c:v>
                </c:pt>
                <c:pt idx="69">
                  <c:v>2586.3993402821661</c:v>
                </c:pt>
                <c:pt idx="70">
                  <c:v>2649.2378723459506</c:v>
                </c:pt>
                <c:pt idx="71">
                  <c:v>2711.8478432315233</c:v>
                </c:pt>
                <c:pt idx="72">
                  <c:v>2774.1774555159345</c:v>
                </c:pt>
                <c:pt idx="73">
                  <c:v>2836.1763953383825</c:v>
                </c:pt>
                <c:pt idx="74">
                  <c:v>2897.7954281341831</c:v>
                </c:pt>
                <c:pt idx="75">
                  <c:v>2958.9864228639835</c:v>
                </c:pt>
                <c:pt idx="76">
                  <c:v>3019.7025137331289</c:v>
                </c:pt>
                <c:pt idx="77">
                  <c:v>3079.8982445724105</c:v>
                </c:pt>
                <c:pt idx="78">
                  <c:v>3139.5298103795449</c:v>
                </c:pt>
                <c:pt idx="79">
                  <c:v>3198.555203067051</c:v>
                </c:pt>
                <c:pt idx="80">
                  <c:v>3256.9342778122596</c:v>
                </c:pt>
                <c:pt idx="81">
                  <c:v>3314.6288179973212</c:v>
                </c:pt>
                <c:pt idx="82">
                  <c:v>3371.6025788233437</c:v>
                </c:pt>
                <c:pt idx="83">
                  <c:v>3427.8213155111189</c:v>
                </c:pt>
                <c:pt idx="84">
                  <c:v>3483.2528413423215</c:v>
                </c:pt>
                <c:pt idx="85">
                  <c:v>3537.8670738121127</c:v>
                </c:pt>
                <c:pt idx="86">
                  <c:v>3591.6360537016058</c:v>
                </c:pt>
                <c:pt idx="87">
                  <c:v>3644.5339681979349</c:v>
                </c:pt>
                <c:pt idx="88">
                  <c:v>3696.5371707174941</c:v>
                </c:pt>
                <c:pt idx="89">
                  <c:v>3747.6241721368519</c:v>
                </c:pt>
                <c:pt idx="90">
                  <c:v>3797.7756184738873</c:v>
                </c:pt>
                <c:pt idx="91">
                  <c:v>3846.9742869351276</c:v>
                </c:pt>
                <c:pt idx="92">
                  <c:v>3895.2050609559551</c:v>
                </c:pt>
                <c:pt idx="93">
                  <c:v>3942.4548908061138</c:v>
                </c:pt>
                <c:pt idx="94">
                  <c:v>3988.7127614737174</c:v>
                </c:pt>
                <c:pt idx="95">
                  <c:v>4033.96964968087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993.38953711081638</c:v>
                </c:pt>
                <c:pt idx="43">
                  <c:v>1044.1955619480709</c:v>
                </c:pt>
                <c:pt idx="44">
                  <c:v>1096.4970133126349</c:v>
                </c:pt>
                <c:pt idx="45">
                  <c:v>1150.5538185684386</c:v>
                </c:pt>
                <c:pt idx="46">
                  <c:v>1206.4686671990241</c:v>
                </c:pt>
                <c:pt idx="47">
                  <c:v>1263.9914297817522</c:v>
                </c:pt>
                <c:pt idx="48">
                  <c:v>1323.151335671746</c:v>
                </c:pt>
                <c:pt idx="49">
                  <c:v>1383.7644934243358</c:v>
                </c:pt>
                <c:pt idx="50">
                  <c:v>1445.7619099505434</c:v>
                </c:pt>
                <c:pt idx="51">
                  <c:v>1509.2867630430028</c:v>
                </c:pt>
                <c:pt idx="52">
                  <c:v>1574.1725057172266</c:v>
                </c:pt>
                <c:pt idx="53">
                  <c:v>1640.4126103348631</c:v>
                </c:pt>
                <c:pt idx="54">
                  <c:v>1708.1697208042797</c:v>
                </c:pt>
                <c:pt idx="55">
                  <c:v>1777.2389282459567</c:v>
                </c:pt>
                <c:pt idx="56">
                  <c:v>1847.554597574536</c:v>
                </c:pt>
                <c:pt idx="57">
                  <c:v>1919.173999496194</c:v>
                </c:pt>
                <c:pt idx="58">
                  <c:v>1992.00123694028</c:v>
                </c:pt>
                <c:pt idx="59">
                  <c:v>2065.948048967191</c:v>
                </c:pt>
                <c:pt idx="60">
                  <c:v>2141.0169846237968</c:v>
                </c:pt>
                <c:pt idx="61">
                  <c:v>2217.1827361825153</c:v>
                </c:pt>
                <c:pt idx="62">
                  <c:v>2294.3284407917663</c:v>
                </c:pt>
                <c:pt idx="63">
                  <c:v>2372.3719940465858</c:v>
                </c:pt>
                <c:pt idx="64">
                  <c:v>2451.2944572663355</c:v>
                </c:pt>
                <c:pt idx="65">
                  <c:v>2530.9554468288366</c:v>
                </c:pt>
                <c:pt idx="66">
                  <c:v>2611.2929766248217</c:v>
                </c:pt>
                <c:pt idx="67">
                  <c:v>2692.3030216494062</c:v>
                </c:pt>
                <c:pt idx="68">
                  <c:v>2773.8257999947705</c:v>
                </c:pt>
                <c:pt idx="69">
                  <c:v>2855.7965046554759</c:v>
                </c:pt>
                <c:pt idx="70">
                  <c:v>2938.1265519504113</c:v>
                </c:pt>
                <c:pt idx="71">
                  <c:v>3020.7254373487526</c:v>
                </c:pt>
                <c:pt idx="72">
                  <c:v>3103.5026513909884</c:v>
                </c:pt>
                <c:pt idx="73">
                  <c:v>3186.3678354546337</c:v>
                </c:pt>
                <c:pt idx="74">
                  <c:v>3269.2303937236816</c:v>
                </c:pt>
                <c:pt idx="75">
                  <c:v>3351.9997185333982</c:v>
                </c:pt>
                <c:pt idx="76">
                  <c:v>3434.5856126301278</c:v>
                </c:pt>
                <c:pt idx="77">
                  <c:v>3516.8986876035492</c:v>
                </c:pt>
                <c:pt idx="78">
                  <c:v>3598.8509045257092</c:v>
                </c:pt>
                <c:pt idx="79">
                  <c:v>3680.3559809185767</c:v>
                </c:pt>
                <c:pt idx="80">
                  <c:v>3761.3296845949935</c:v>
                </c:pt>
                <c:pt idx="81">
                  <c:v>3841.6901209235984</c:v>
                </c:pt>
                <c:pt idx="82">
                  <c:v>3921.3579871867892</c:v>
                </c:pt>
                <c:pt idx="83">
                  <c:v>4000.2567998043974</c:v>
                </c:pt>
                <c:pt idx="84">
                  <c:v>4078.3131517973811</c:v>
                </c:pt>
                <c:pt idx="85">
                  <c:v>4155.4569446423939</c:v>
                </c:pt>
                <c:pt idx="86">
                  <c:v>4231.6215722040415</c:v>
                </c:pt>
                <c:pt idx="87">
                  <c:v>4306.744097055087</c:v>
                </c:pt>
                <c:pt idx="88">
                  <c:v>4380.7654097959876</c:v>
                </c:pt>
                <c:pt idx="89">
                  <c:v>4453.6303357635043</c:v>
                </c:pt>
                <c:pt idx="90">
                  <c:v>4525.2877084358688</c:v>
                </c:pt>
                <c:pt idx="91">
                  <c:v>4595.690454170719</c:v>
                </c:pt>
                <c:pt idx="92">
                  <c:v>4664.7956336611187</c:v>
                </c:pt>
                <c:pt idx="93">
                  <c:v>4732.5644495089491</c:v>
                </c:pt>
                <c:pt idx="94">
                  <c:v>4798.9622499296165</c:v>
                </c:pt>
                <c:pt idx="95">
                  <c:v>4863.95850469202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994.39687553589135</c:v>
                </c:pt>
                <c:pt idx="43">
                  <c:v>1046.6213103418861</c:v>
                </c:pt>
                <c:pt idx="44">
                  <c:v>1100.806296670313</c:v>
                </c:pt>
                <c:pt idx="45">
                  <c:v>1157.2654359120299</c:v>
                </c:pt>
                <c:pt idx="46">
                  <c:v>1216.1546882981625</c:v>
                </c:pt>
                <c:pt idx="47">
                  <c:v>1277.2758078205638</c:v>
                </c:pt>
                <c:pt idx="48">
                  <c:v>1340.7051451303996</c:v>
                </c:pt>
                <c:pt idx="49">
                  <c:v>1406.3027112398349</c:v>
                </c:pt>
                <c:pt idx="50">
                  <c:v>1474.0395512763412</c:v>
                </c:pt>
                <c:pt idx="51">
                  <c:v>1544.0955315954716</c:v>
                </c:pt>
                <c:pt idx="52">
                  <c:v>1616.3385258223643</c:v>
                </c:pt>
                <c:pt idx="53">
                  <c:v>1690.792551516189</c:v>
                </c:pt>
                <c:pt idx="54">
                  <c:v>1767.647281148202</c:v>
                </c:pt>
                <c:pt idx="55">
                  <c:v>1846.72117124754</c:v>
                </c:pt>
                <c:pt idx="56">
                  <c:v>1927.9679320349176</c:v>
                </c:pt>
                <c:pt idx="57">
                  <c:v>2011.4597870050577</c:v>
                </c:pt>
                <c:pt idx="58">
                  <c:v>2097.1118782548378</c:v>
                </c:pt>
                <c:pt idx="59">
                  <c:v>2184.8427437521923</c:v>
                </c:pt>
                <c:pt idx="60">
                  <c:v>2274.656559186823</c:v>
                </c:pt>
                <c:pt idx="61">
                  <c:v>2366.5244105121174</c:v>
                </c:pt>
                <c:pt idx="62">
                  <c:v>2460.3208199356914</c:v>
                </c:pt>
                <c:pt idx="63">
                  <c:v>2555.9495544482415</c:v>
                </c:pt>
                <c:pt idx="64">
                  <c:v>2653.3720373654432</c:v>
                </c:pt>
                <c:pt idx="65">
                  <c:v>2752.4242736734782</c:v>
                </c:pt>
                <c:pt idx="66">
                  <c:v>2853.0162347178598</c:v>
                </c:pt>
                <c:pt idx="67">
                  <c:v>2955.1102168571224</c:v>
                </c:pt>
                <c:pt idx="68">
                  <c:v>3058.5078409312414</c:v>
                </c:pt>
                <c:pt idx="69">
                  <c:v>3163.100675021667</c:v>
                </c:pt>
                <c:pt idx="70">
                  <c:v>3268.7519955649736</c:v>
                </c:pt>
                <c:pt idx="71">
                  <c:v>3375.3189828417567</c:v>
                </c:pt>
                <c:pt idx="72">
                  <c:v>3482.6555361806759</c:v>
                </c:pt>
                <c:pt idx="73">
                  <c:v>3590.6127412048691</c:v>
                </c:pt>
                <c:pt idx="74">
                  <c:v>3699.0386344636913</c:v>
                </c:pt>
                <c:pt idx="75">
                  <c:v>3807.7788300200386</c:v>
                </c:pt>
                <c:pt idx="76">
                  <c:v>3916.6774331247238</c:v>
                </c:pt>
                <c:pt idx="77">
                  <c:v>4025.5779348092742</c:v>
                </c:pt>
                <c:pt idx="78">
                  <c:v>4134.3243140883224</c:v>
                </c:pt>
                <c:pt idx="79">
                  <c:v>4242.7619651400491</c:v>
                </c:pt>
                <c:pt idx="80">
                  <c:v>4350.7384730855274</c:v>
                </c:pt>
                <c:pt idx="81">
                  <c:v>4458.1043754745106</c:v>
                </c:pt>
                <c:pt idx="82">
                  <c:v>4564.7138716592563</c:v>
                </c:pt>
                <c:pt idx="83">
                  <c:v>4670.4254823539259</c:v>
                </c:pt>
                <c:pt idx="84">
                  <c:v>4775.1027282724644</c:v>
                </c:pt>
                <c:pt idx="85">
                  <c:v>4878.6147521533658</c:v>
                </c:pt>
                <c:pt idx="86">
                  <c:v>4980.8368509711363</c:v>
                </c:pt>
                <c:pt idx="87">
                  <c:v>5081.6509677438644</c:v>
                </c:pt>
                <c:pt idx="88">
                  <c:v>5180.9461298661545</c:v>
                </c:pt>
                <c:pt idx="89">
                  <c:v>5278.618784670809</c:v>
                </c:pt>
                <c:pt idx="90">
                  <c:v>5374.5730561769487</c:v>
                </c:pt>
                <c:pt idx="91">
                  <c:v>5468.720983301816</c:v>
                </c:pt>
                <c:pt idx="92">
                  <c:v>5560.9826665291703</c:v>
                </c:pt>
                <c:pt idx="93">
                  <c:v>5651.2863366972433</c:v>
                </c:pt>
                <c:pt idx="94">
                  <c:v>5739.5683871369656</c:v>
                </c:pt>
                <c:pt idx="95">
                  <c:v>5825.7733395374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5</c:v>
                </c:pt>
                <c:pt idx="1">
                  <c:v>35</c:v>
                </c:pt>
                <c:pt idx="2">
                  <c:v>37</c:v>
                </c:pt>
                <c:pt idx="3">
                  <c:v>43</c:v>
                </c:pt>
                <c:pt idx="4">
                  <c:v>48</c:v>
                </c:pt>
                <c:pt idx="5">
                  <c:v>51</c:v>
                </c:pt>
                <c:pt idx="6">
                  <c:v>51</c:v>
                </c:pt>
                <c:pt idx="7">
                  <c:v>59</c:v>
                </c:pt>
                <c:pt idx="8">
                  <c:v>60</c:v>
                </c:pt>
                <c:pt idx="9">
                  <c:v>62</c:v>
                </c:pt>
                <c:pt idx="10">
                  <c:v>68</c:v>
                </c:pt>
                <c:pt idx="11">
                  <c:v>70</c:v>
                </c:pt>
                <c:pt idx="12">
                  <c:v>72</c:v>
                </c:pt>
                <c:pt idx="13">
                  <c:v>75</c:v>
                </c:pt>
                <c:pt idx="14">
                  <c:v>80</c:v>
                </c:pt>
                <c:pt idx="15">
                  <c:v>86</c:v>
                </c:pt>
                <c:pt idx="16">
                  <c:v>87</c:v>
                </c:pt>
                <c:pt idx="17">
                  <c:v>92</c:v>
                </c:pt>
                <c:pt idx="18">
                  <c:v>105</c:v>
                </c:pt>
                <c:pt idx="19">
                  <c:v>111</c:v>
                </c:pt>
                <c:pt idx="20">
                  <c:v>118</c:v>
                </c:pt>
                <c:pt idx="21">
                  <c:v>125</c:v>
                </c:pt>
                <c:pt idx="22">
                  <c:v>128</c:v>
                </c:pt>
                <c:pt idx="23">
                  <c:v>137</c:v>
                </c:pt>
                <c:pt idx="24">
                  <c:v>142</c:v>
                </c:pt>
                <c:pt idx="25">
                  <c:v>154</c:v>
                </c:pt>
                <c:pt idx="26">
                  <c:v>167</c:v>
                </c:pt>
                <c:pt idx="27">
                  <c:v>174</c:v>
                </c:pt>
                <c:pt idx="28">
                  <c:v>185</c:v>
                </c:pt>
                <c:pt idx="29">
                  <c:v>191</c:v>
                </c:pt>
                <c:pt idx="30">
                  <c:v>208</c:v>
                </c:pt>
                <c:pt idx="31">
                  <c:v>230</c:v>
                </c:pt>
                <c:pt idx="32">
                  <c:v>248</c:v>
                </c:pt>
                <c:pt idx="33">
                  <c:v>270</c:v>
                </c:pt>
                <c:pt idx="34">
                  <c:v>292</c:v>
                </c:pt>
                <c:pt idx="35">
                  <c:v>321</c:v>
                </c:pt>
                <c:pt idx="36">
                  <c:v>331</c:v>
                </c:pt>
                <c:pt idx="37">
                  <c:v>356</c:v>
                </c:pt>
                <c:pt idx="38">
                  <c:v>384</c:v>
                </c:pt>
                <c:pt idx="39">
                  <c:v>408</c:v>
                </c:pt>
                <c:pt idx="40">
                  <c:v>440</c:v>
                </c:pt>
                <c:pt idx="41">
                  <c:v>464</c:v>
                </c:pt>
                <c:pt idx="42">
                  <c:v>507</c:v>
                </c:pt>
                <c:pt idx="43">
                  <c:v>527</c:v>
                </c:pt>
                <c:pt idx="44">
                  <c:v>547</c:v>
                </c:pt>
                <c:pt idx="45">
                  <c:v>578</c:v>
                </c:pt>
                <c:pt idx="46">
                  <c:v>6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83.02882136542081</c:v>
                </c:pt>
                <c:pt idx="43">
                  <c:v>504.50752433980324</c:v>
                </c:pt>
                <c:pt idx="44">
                  <c:v>526.4570082326693</c:v>
                </c:pt>
                <c:pt idx="45">
                  <c:v>548.97095795810674</c:v>
                </c:pt>
                <c:pt idx="46">
                  <c:v>572.07514922793587</c:v>
                </c:pt>
                <c:pt idx="47">
                  <c:v>595.6352695807301</c:v>
                </c:pt>
                <c:pt idx="48">
                  <c:v>619.64427957410123</c:v>
                </c:pt>
                <c:pt idx="49">
                  <c:v>644.00135455041573</c:v>
                </c:pt>
                <c:pt idx="50">
                  <c:v>668.67035435164314</c:v>
                </c:pt>
                <c:pt idx="51">
                  <c:v>693.70372137519803</c:v>
                </c:pt>
                <c:pt idx="52">
                  <c:v>719.01382931203261</c:v>
                </c:pt>
                <c:pt idx="53">
                  <c:v>744.59306622455085</c:v>
                </c:pt>
                <c:pt idx="54">
                  <c:v>770.50365221967286</c:v>
                </c:pt>
                <c:pt idx="55">
                  <c:v>796.65211371009423</c:v>
                </c:pt>
                <c:pt idx="56">
                  <c:v>823.00636807223373</c:v>
                </c:pt>
                <c:pt idx="57">
                  <c:v>849.59010531469312</c:v>
                </c:pt>
                <c:pt idx="58">
                  <c:v>876.36221612462975</c:v>
                </c:pt>
                <c:pt idx="59">
                  <c:v>903.28215194443476</c:v>
                </c:pt>
                <c:pt idx="60">
                  <c:v>930.3513774505243</c:v>
                </c:pt>
                <c:pt idx="61">
                  <c:v>957.5688440284539</c:v>
                </c:pt>
                <c:pt idx="62">
                  <c:v>984.88569085900315</c:v>
                </c:pt>
                <c:pt idx="63">
                  <c:v>1012.2733488154707</c:v>
                </c:pt>
                <c:pt idx="64">
                  <c:v>1039.7344313414694</c:v>
                </c:pt>
                <c:pt idx="65">
                  <c:v>1067.2173576881378</c:v>
                </c:pt>
                <c:pt idx="66">
                  <c:v>1094.704455753747</c:v>
                </c:pt>
                <c:pt idx="67">
                  <c:v>1122.2026189250548</c:v>
                </c:pt>
                <c:pt idx="68">
                  <c:v>1149.6585688780367</c:v>
                </c:pt>
                <c:pt idx="69">
                  <c:v>1177.0574473893353</c:v>
                </c:pt>
                <c:pt idx="70">
                  <c:v>1204.3760089413022</c:v>
                </c:pt>
                <c:pt idx="71">
                  <c:v>1231.5911105656076</c:v>
                </c:pt>
                <c:pt idx="72">
                  <c:v>1258.6802665495011</c:v>
                </c:pt>
                <c:pt idx="73">
                  <c:v>1285.6216474831485</c:v>
                </c:pt>
                <c:pt idx="74">
                  <c:v>1312.3939069431913</c:v>
                </c:pt>
                <c:pt idx="75">
                  <c:v>1338.9761906343074</c:v>
                </c:pt>
                <c:pt idx="76">
                  <c:v>1365.3482065374303</c:v>
                </c:pt>
                <c:pt idx="77">
                  <c:v>1391.4902873076653</c:v>
                </c:pt>
                <c:pt idx="78">
                  <c:v>1417.3834919935841</c:v>
                </c:pt>
                <c:pt idx="79">
                  <c:v>1443.009669627344</c:v>
                </c:pt>
                <c:pt idx="80">
                  <c:v>1468.3514876525794</c:v>
                </c:pt>
                <c:pt idx="81">
                  <c:v>1493.3924599149598</c:v>
                </c:pt>
                <c:pt idx="82">
                  <c:v>1518.1169645096711</c:v>
                </c:pt>
                <c:pt idx="83">
                  <c:v>1542.5102548313939</c:v>
                </c:pt>
                <c:pt idx="84">
                  <c:v>1566.5584847043731</c:v>
                </c:pt>
                <c:pt idx="85">
                  <c:v>1590.2487275244712</c:v>
                </c:pt>
                <c:pt idx="86">
                  <c:v>1613.5689831763391</c:v>
                </c:pt>
                <c:pt idx="87">
                  <c:v>1636.5081873552242</c:v>
                </c:pt>
                <c:pt idx="88">
                  <c:v>1659.0562199985443</c:v>
                </c:pt>
                <c:pt idx="89">
                  <c:v>1681.2039008158258</c:v>
                </c:pt>
                <c:pt idx="90">
                  <c:v>1702.9429782038374</c:v>
                </c:pt>
                <c:pt idx="91">
                  <c:v>1724.2661276278752</c:v>
                </c:pt>
                <c:pt idx="92">
                  <c:v>1745.1669398425909</c:v>
                </c:pt>
                <c:pt idx="93">
                  <c:v>1765.639902694747</c:v>
                </c:pt>
                <c:pt idx="94">
                  <c:v>1785.6803864466235</c:v>
                </c:pt>
                <c:pt idx="95">
                  <c:v>1805.28462486931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83.46960411703816</c:v>
                </c:pt>
                <c:pt idx="43">
                  <c:v>505.56560633285278</c:v>
                </c:pt>
                <c:pt idx="44">
                  <c:v>528.32962465342212</c:v>
                </c:pt>
                <c:pt idx="45">
                  <c:v>551.87529878932605</c:v>
                </c:pt>
                <c:pt idx="46">
                  <c:v>576.247647894485</c:v>
                </c:pt>
                <c:pt idx="47">
                  <c:v>601.33047331162174</c:v>
                </c:pt>
                <c:pt idx="48">
                  <c:v>627.13220663628942</c:v>
                </c:pt>
                <c:pt idx="49">
                  <c:v>653.56566761667625</c:v>
                </c:pt>
                <c:pt idx="50">
                  <c:v>680.60632492654292</c:v>
                </c:pt>
                <c:pt idx="51">
                  <c:v>708.31654385002867</c:v>
                </c:pt>
                <c:pt idx="52">
                  <c:v>736.61754033139925</c:v>
                </c:pt>
                <c:pt idx="53">
                  <c:v>765.50882022984297</c:v>
                </c:pt>
                <c:pt idx="54">
                  <c:v>795.05830441993066</c:v>
                </c:pt>
                <c:pt idx="55">
                  <c:v>825.17680721273109</c:v>
                </c:pt>
                <c:pt idx="56">
                  <c:v>855.83504065338036</c:v>
                </c:pt>
                <c:pt idx="57">
                  <c:v>887.05797276427643</c:v>
                </c:pt>
                <c:pt idx="58">
                  <c:v>918.80452438302927</c:v>
                </c:pt>
                <c:pt idx="59">
                  <c:v>951.03286421812618</c:v>
                </c:pt>
                <c:pt idx="60">
                  <c:v>983.74159828330767</c:v>
                </c:pt>
                <c:pt idx="61">
                  <c:v>1016.9252927887524</c:v>
                </c:pt>
                <c:pt idx="62">
                  <c:v>1050.5293794717084</c:v>
                </c:pt>
                <c:pt idx="63">
                  <c:v>1084.5180407043256</c:v>
                </c:pt>
                <c:pt idx="64">
                  <c:v>1118.8851568466193</c:v>
                </c:pt>
                <c:pt idx="65">
                  <c:v>1153.5695765003861</c:v>
                </c:pt>
                <c:pt idx="66">
                  <c:v>1188.5430222445848</c:v>
                </c:pt>
                <c:pt idx="67">
                  <c:v>1223.8003533814349</c:v>
                </c:pt>
                <c:pt idx="68">
                  <c:v>1259.2751094084279</c:v>
                </c:pt>
                <c:pt idx="69">
                  <c:v>1294.9380506305599</c:v>
                </c:pt>
                <c:pt idx="70">
                  <c:v>1330.7505236699849</c:v>
                </c:pt>
                <c:pt idx="71">
                  <c:v>1366.6730470000502</c:v>
                </c:pt>
                <c:pt idx="72">
                  <c:v>1402.6661608135696</c:v>
                </c:pt>
                <c:pt idx="73">
                  <c:v>1438.6905001893624</c:v>
                </c:pt>
                <c:pt idx="74">
                  <c:v>1474.7066301640448</c:v>
                </c:pt>
                <c:pt idx="75">
                  <c:v>1510.6751423304036</c:v>
                </c:pt>
                <c:pt idx="76">
                  <c:v>1546.5568387180035</c:v>
                </c:pt>
                <c:pt idx="77">
                  <c:v>1582.3129048304488</c:v>
                </c:pt>
                <c:pt idx="78">
                  <c:v>1617.9051401766117</c:v>
                </c:pt>
                <c:pt idx="79">
                  <c:v>1653.2961356980281</c:v>
                </c:pt>
                <c:pt idx="80">
                  <c:v>1688.4494009634159</c:v>
                </c:pt>
                <c:pt idx="81">
                  <c:v>1723.3294884428183</c:v>
                </c:pt>
                <c:pt idx="82">
                  <c:v>1757.9021021488161</c:v>
                </c:pt>
                <c:pt idx="83">
                  <c:v>1792.1341943217842</c:v>
                </c:pt>
                <c:pt idx="84">
                  <c:v>1825.9940765669876</c:v>
                </c:pt>
                <c:pt idx="85">
                  <c:v>1859.4515187178051</c:v>
                </c:pt>
                <c:pt idx="86">
                  <c:v>1892.4778260802407</c:v>
                </c:pt>
                <c:pt idx="87">
                  <c:v>1925.0459141958142</c:v>
                </c:pt>
                <c:pt idx="88">
                  <c:v>1957.1303768645553</c:v>
                </c:pt>
                <c:pt idx="89">
                  <c:v>1988.7075305770181</c:v>
                </c:pt>
                <c:pt idx="90">
                  <c:v>2019.7554434660944</c:v>
                </c:pt>
                <c:pt idx="91">
                  <c:v>2050.2539711942281</c:v>
                </c:pt>
                <c:pt idx="92">
                  <c:v>2080.1847726026235</c:v>
                </c:pt>
                <c:pt idx="93">
                  <c:v>2109.5313104256115</c:v>
                </c:pt>
                <c:pt idx="94">
                  <c:v>2138.2788508301564</c:v>
                </c:pt>
                <c:pt idx="95">
                  <c:v>2166.41445158789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83.91318126766652</c:v>
                </c:pt>
                <c:pt idx="43">
                  <c:v>506.6337923330284</c:v>
                </c:pt>
                <c:pt idx="44">
                  <c:v>530.22718260315173</c:v>
                </c:pt>
                <c:pt idx="45">
                  <c:v>554.83054771827892</c:v>
                </c:pt>
                <c:pt idx="46">
                  <c:v>580.51226964708383</c:v>
                </c:pt>
                <c:pt idx="47">
                  <c:v>607.17884780637723</c:v>
                </c:pt>
                <c:pt idx="48">
                  <c:v>634.85918322784914</c:v>
                </c:pt>
                <c:pt idx="49">
                  <c:v>663.48509119678022</c:v>
                </c:pt>
                <c:pt idx="50">
                  <c:v>693.04926264592257</c:v>
                </c:pt>
                <c:pt idx="51">
                  <c:v>723.62978741703012</c:v>
                </c:pt>
                <c:pt idx="52">
                  <c:v>755.16262000083611</c:v>
                </c:pt>
                <c:pt idx="53">
                  <c:v>787.66025769627242</c:v>
                </c:pt>
                <c:pt idx="54">
                  <c:v>821.20208257048557</c:v>
                </c:pt>
                <c:pt idx="55">
                  <c:v>855.70874061248844</c:v>
                </c:pt>
                <c:pt idx="56">
                  <c:v>891.15900422534457</c:v>
                </c:pt>
                <c:pt idx="57">
                  <c:v>927.58398108721224</c:v>
                </c:pt>
                <c:pt idx="58">
                  <c:v>964.9470279559406</c:v>
                </c:pt>
                <c:pt idx="59">
                  <c:v>1003.2088950389723</c:v>
                </c:pt>
                <c:pt idx="60">
                  <c:v>1042.3685110135225</c:v>
                </c:pt>
                <c:pt idx="61">
                  <c:v>1082.4184846325256</c:v>
                </c:pt>
                <c:pt idx="62">
                  <c:v>1123.3001347528491</c:v>
                </c:pt>
                <c:pt idx="63">
                  <c:v>1164.9711179110875</c:v>
                </c:pt>
                <c:pt idx="64">
                  <c:v>1207.4163780965664</c:v>
                </c:pt>
                <c:pt idx="65">
                  <c:v>1250.5641215959959</c:v>
                </c:pt>
                <c:pt idx="66">
                  <c:v>1294.3735039125568</c:v>
                </c:pt>
                <c:pt idx="67">
                  <c:v>1338.8243779668692</c:v>
                </c:pt>
                <c:pt idx="68">
                  <c:v>1383.8331470376077</c:v>
                </c:pt>
                <c:pt idx="69">
                  <c:v>1429.3512745551257</c:v>
                </c:pt>
                <c:pt idx="70">
                  <c:v>1475.3188703182018</c:v>
                </c:pt>
                <c:pt idx="71">
                  <c:v>1521.673418038444</c:v>
                </c:pt>
                <c:pt idx="72">
                  <c:v>1568.3510252581952</c:v>
                </c:pt>
                <c:pt idx="73">
                  <c:v>1615.2866363507574</c:v>
                </c:pt>
                <c:pt idx="74">
                  <c:v>1662.4139374231804</c:v>
                </c:pt>
                <c:pt idx="75">
                  <c:v>1709.6656289170887</c:v>
                </c:pt>
                <c:pt idx="76">
                  <c:v>1756.9738249858256</c:v>
                </c:pt>
                <c:pt idx="77">
                  <c:v>1804.2704434947996</c:v>
                </c:pt>
                <c:pt idx="78">
                  <c:v>1851.4876799945582</c:v>
                </c:pt>
                <c:pt idx="79">
                  <c:v>1898.5584121033289</c:v>
                </c:pt>
                <c:pt idx="80">
                  <c:v>1945.4165362829228</c:v>
                </c:pt>
                <c:pt idx="81">
                  <c:v>1991.9972977581792</c:v>
                </c:pt>
                <c:pt idx="82">
                  <c:v>2038.2375956098329</c:v>
                </c:pt>
                <c:pt idx="83">
                  <c:v>2084.0762657229798</c:v>
                </c:pt>
                <c:pt idx="84">
                  <c:v>2129.4543733169085</c:v>
                </c:pt>
                <c:pt idx="85">
                  <c:v>2174.3154791119287</c:v>
                </c:pt>
                <c:pt idx="86">
                  <c:v>2218.6058650634841</c:v>
                </c:pt>
                <c:pt idx="87">
                  <c:v>2262.2747434216985</c:v>
                </c:pt>
                <c:pt idx="88">
                  <c:v>2305.2744431987876</c:v>
                </c:pt>
                <c:pt idx="89">
                  <c:v>2347.5605508419349</c:v>
                </c:pt>
                <c:pt idx="90">
                  <c:v>2389.0920152461686</c:v>
                </c:pt>
                <c:pt idx="91">
                  <c:v>2429.8312473408328</c:v>
                </c:pt>
                <c:pt idx="92">
                  <c:v>2469.7441779831233</c:v>
                </c:pt>
                <c:pt idx="93">
                  <c:v>2508.8002817549982</c:v>
                </c:pt>
                <c:pt idx="94">
                  <c:v>2546.9725855870192</c:v>
                </c:pt>
                <c:pt idx="95">
                  <c:v>2584.23764962036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5</c:v>
                </c:pt>
                <c:pt idx="1">
                  <c:v>37</c:v>
                </c:pt>
                <c:pt idx="2">
                  <c:v>39</c:v>
                </c:pt>
                <c:pt idx="3">
                  <c:v>43</c:v>
                </c:pt>
                <c:pt idx="4">
                  <c:v>48</c:v>
                </c:pt>
                <c:pt idx="5">
                  <c:v>51</c:v>
                </c:pt>
                <c:pt idx="6">
                  <c:v>55</c:v>
                </c:pt>
                <c:pt idx="7">
                  <c:v>64</c:v>
                </c:pt>
                <c:pt idx="8">
                  <c:v>66</c:v>
                </c:pt>
                <c:pt idx="9">
                  <c:v>71</c:v>
                </c:pt>
                <c:pt idx="10">
                  <c:v>76</c:v>
                </c:pt>
                <c:pt idx="11">
                  <c:v>82</c:v>
                </c:pt>
                <c:pt idx="12">
                  <c:v>87</c:v>
                </c:pt>
                <c:pt idx="13">
                  <c:v>90</c:v>
                </c:pt>
                <c:pt idx="14">
                  <c:v>102</c:v>
                </c:pt>
                <c:pt idx="15">
                  <c:v>113</c:v>
                </c:pt>
                <c:pt idx="16">
                  <c:v>125</c:v>
                </c:pt>
                <c:pt idx="17">
                  <c:v>141</c:v>
                </c:pt>
                <c:pt idx="18">
                  <c:v>154</c:v>
                </c:pt>
                <c:pt idx="19">
                  <c:v>171</c:v>
                </c:pt>
                <c:pt idx="20">
                  <c:v>179</c:v>
                </c:pt>
                <c:pt idx="21">
                  <c:v>185</c:v>
                </c:pt>
                <c:pt idx="22">
                  <c:v>203</c:v>
                </c:pt>
                <c:pt idx="23">
                  <c:v>213</c:v>
                </c:pt>
                <c:pt idx="24">
                  <c:v>229</c:v>
                </c:pt>
                <c:pt idx="25">
                  <c:v>241</c:v>
                </c:pt>
                <c:pt idx="26">
                  <c:v>258</c:v>
                </c:pt>
                <c:pt idx="27">
                  <c:v>278</c:v>
                </c:pt>
                <c:pt idx="28">
                  <c:v>296</c:v>
                </c:pt>
                <c:pt idx="29">
                  <c:v>314</c:v>
                </c:pt>
                <c:pt idx="30">
                  <c:v>330</c:v>
                </c:pt>
                <c:pt idx="31">
                  <c:v>353</c:v>
                </c:pt>
                <c:pt idx="32">
                  <c:v>380</c:v>
                </c:pt>
                <c:pt idx="33">
                  <c:v>403</c:v>
                </c:pt>
                <c:pt idx="34">
                  <c:v>443</c:v>
                </c:pt>
                <c:pt idx="35">
                  <c:v>470</c:v>
                </c:pt>
                <c:pt idx="36">
                  <c:v>491</c:v>
                </c:pt>
                <c:pt idx="37">
                  <c:v>504</c:v>
                </c:pt>
                <c:pt idx="38">
                  <c:v>543</c:v>
                </c:pt>
                <c:pt idx="39">
                  <c:v>596</c:v>
                </c:pt>
                <c:pt idx="40">
                  <c:v>623</c:v>
                </c:pt>
                <c:pt idx="41">
                  <c:v>663</c:v>
                </c:pt>
                <c:pt idx="42">
                  <c:v>702</c:v>
                </c:pt>
                <c:pt idx="43">
                  <c:v>726</c:v>
                </c:pt>
                <c:pt idx="44">
                  <c:v>740</c:v>
                </c:pt>
                <c:pt idx="45">
                  <c:v>783</c:v>
                </c:pt>
                <c:pt idx="46">
                  <c:v>8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694.20401430861818</c:v>
                </c:pt>
                <c:pt idx="43">
                  <c:v>726.07306678281486</c:v>
                </c:pt>
                <c:pt idx="44">
                  <c:v>758.63605136835213</c:v>
                </c:pt>
                <c:pt idx="45">
                  <c:v>792.03183729268619</c:v>
                </c:pt>
                <c:pt idx="46">
                  <c:v>826.29860513233052</c:v>
                </c:pt>
                <c:pt idx="47">
                  <c:v>861.2393168841669</c:v>
                </c:pt>
                <c:pt idx="48">
                  <c:v>896.84478308860844</c:v>
                </c:pt>
                <c:pt idx="49">
                  <c:v>932.96751942128321</c:v>
                </c:pt>
                <c:pt idx="50">
                  <c:v>969.55221117588826</c:v>
                </c:pt>
                <c:pt idx="51">
                  <c:v>1006.6765600301312</c:v>
                </c:pt>
                <c:pt idx="52">
                  <c:v>1044.2123777763932</c:v>
                </c:pt>
                <c:pt idx="53">
                  <c:v>1082.1475864786205</c:v>
                </c:pt>
                <c:pt idx="54">
                  <c:v>1120.5752537160758</c:v>
                </c:pt>
                <c:pt idx="55">
                  <c:v>1159.3566294571992</c:v>
                </c:pt>
                <c:pt idx="56">
                  <c:v>1198.444244040581</c:v>
                </c:pt>
                <c:pt idx="57">
                  <c:v>1237.8731373090895</c:v>
                </c:pt>
                <c:pt idx="58">
                  <c:v>1277.5820449813586</c:v>
                </c:pt>
                <c:pt idx="59">
                  <c:v>1317.5117480479441</c:v>
                </c:pt>
                <c:pt idx="60">
                  <c:v>1357.6650807128522</c:v>
                </c:pt>
                <c:pt idx="61">
                  <c:v>1398.038747099813</c:v>
                </c:pt>
                <c:pt idx="62">
                  <c:v>1438.5612979512111</c:v>
                </c:pt>
                <c:pt idx="63">
                  <c:v>1479.1903064288929</c:v>
                </c:pt>
                <c:pt idx="64">
                  <c:v>1519.928945181668</c:v>
                </c:pt>
                <c:pt idx="65">
                  <c:v>1560.7006489879589</c:v>
                </c:pt>
                <c:pt idx="66">
                  <c:v>1601.4795259445923</c:v>
                </c:pt>
                <c:pt idx="67">
                  <c:v>1642.276750382006</c:v>
                </c:pt>
                <c:pt idx="68">
                  <c:v>1683.0123140262274</c:v>
                </c:pt>
                <c:pt idx="69">
                  <c:v>1723.6644323804946</c:v>
                </c:pt>
                <c:pt idx="70">
                  <c:v>1764.1986063250197</c:v>
                </c:pt>
                <c:pt idx="71">
                  <c:v>1804.580489847139</c:v>
                </c:pt>
                <c:pt idx="72">
                  <c:v>1844.7767097878846</c:v>
                </c:pt>
                <c:pt idx="73">
                  <c:v>1884.7548634086554</c:v>
                </c:pt>
                <c:pt idx="74">
                  <c:v>1924.483260506262</c:v>
                </c:pt>
                <c:pt idx="75">
                  <c:v>1963.9309373912449</c:v>
                </c:pt>
                <c:pt idx="76">
                  <c:v>2003.0677610180101</c:v>
                </c:pt>
                <c:pt idx="77">
                  <c:v>2041.864521678639</c:v>
                </c:pt>
                <c:pt idx="78">
                  <c:v>2080.293084909159</c:v>
                </c:pt>
                <c:pt idx="79">
                  <c:v>2118.326485774287</c:v>
                </c:pt>
                <c:pt idx="80">
                  <c:v>2155.9389711718177</c:v>
                </c:pt>
                <c:pt idx="81">
                  <c:v>2193.1060414358208</c:v>
                </c:pt>
                <c:pt idx="82">
                  <c:v>2229.8044771495352</c:v>
                </c:pt>
                <c:pt idx="83">
                  <c:v>2266.012355901179</c:v>
                </c:pt>
                <c:pt idx="84">
                  <c:v>2301.7090896015679</c:v>
                </c:pt>
                <c:pt idx="85">
                  <c:v>2336.8754531609693</c:v>
                </c:pt>
                <c:pt idx="86">
                  <c:v>2371.4935951617663</c:v>
                </c:pt>
                <c:pt idx="87">
                  <c:v>2405.5470519069777</c:v>
                </c:pt>
                <c:pt idx="88">
                  <c:v>2439.0207599861933</c:v>
                </c:pt>
                <c:pt idx="89">
                  <c:v>2471.9010498389325</c:v>
                </c:pt>
                <c:pt idx="90">
                  <c:v>2504.1756297188376</c:v>
                </c:pt>
                <c:pt idx="91">
                  <c:v>2535.8335832622129</c:v>
                </c:pt>
                <c:pt idx="92">
                  <c:v>2566.8653522869099</c:v>
                </c:pt>
                <c:pt idx="93">
                  <c:v>2597.2627101108287</c:v>
                </c:pt>
                <c:pt idx="94">
                  <c:v>2627.0187399881024</c:v>
                </c:pt>
                <c:pt idx="95">
                  <c:v>2656.1278071214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694.85635685869204</c:v>
                </c:pt>
                <c:pt idx="43">
                  <c:v>727.63898427609001</c:v>
                </c:pt>
                <c:pt idx="44">
                  <c:v>761.40745976703522</c:v>
                </c:pt>
                <c:pt idx="45">
                  <c:v>796.33020726512109</c:v>
                </c:pt>
                <c:pt idx="46">
                  <c:v>832.47391249887221</c:v>
                </c:pt>
                <c:pt idx="47">
                  <c:v>869.66838491392855</c:v>
                </c:pt>
                <c:pt idx="48">
                  <c:v>907.92740805675817</c:v>
                </c:pt>
                <c:pt idx="49">
                  <c:v>947.12378161663082</c:v>
                </c:pt>
                <c:pt idx="50">
                  <c:v>987.21948041376606</c:v>
                </c:pt>
                <c:pt idx="51">
                  <c:v>1028.3070038405276</c:v>
                </c:pt>
                <c:pt idx="52">
                  <c:v>1070.2713546957962</c:v>
                </c:pt>
                <c:pt idx="53">
                  <c:v>1113.1111019485948</c:v>
                </c:pt>
                <c:pt idx="54">
                  <c:v>1156.9278537659993</c:v>
                </c:pt>
                <c:pt idx="55">
                  <c:v>1201.5893107529432</c:v>
                </c:pt>
                <c:pt idx="56">
                  <c:v>1247.0522410207129</c:v>
                </c:pt>
                <c:pt idx="57">
                  <c:v>1293.3536702569641</c:v>
                </c:pt>
                <c:pt idx="58">
                  <c:v>1340.4324648372149</c:v>
                </c:pt>
                <c:pt idx="59">
                  <c:v>1388.2275875745686</c:v>
                </c:pt>
                <c:pt idx="60">
                  <c:v>1436.7377151572773</c:v>
                </c:pt>
                <c:pt idx="61">
                  <c:v>1485.9531270932016</c:v>
                </c:pt>
                <c:pt idx="62">
                  <c:v>1535.7939776683538</c:v>
                </c:pt>
                <c:pt idx="63">
                  <c:v>1586.2071588751839</c:v>
                </c:pt>
                <c:pt idx="64">
                  <c:v>1637.1829612473182</c:v>
                </c:pt>
                <c:pt idx="65">
                  <c:v>1688.6306867625581</c:v>
                </c:pt>
                <c:pt idx="66">
                  <c:v>1740.5087743767904</c:v>
                </c:pt>
                <c:pt idx="67">
                  <c:v>1792.8106061714323</c:v>
                </c:pt>
                <c:pt idx="68">
                  <c:v>1845.4366764638958</c:v>
                </c:pt>
                <c:pt idx="69">
                  <c:v>1898.3439177936295</c:v>
                </c:pt>
                <c:pt idx="70">
                  <c:v>1951.4750202202572</c:v>
                </c:pt>
                <c:pt idx="71">
                  <c:v>2004.7714429676535</c:v>
                </c:pt>
                <c:pt idx="72">
                  <c:v>2058.1746703811077</c:v>
                </c:pt>
                <c:pt idx="73">
                  <c:v>2111.6263188665257</c:v>
                </c:pt>
                <c:pt idx="74">
                  <c:v>2165.0678910555825</c:v>
                </c:pt>
                <c:pt idx="75">
                  <c:v>2218.4409195419566</c:v>
                </c:pt>
                <c:pt idx="76">
                  <c:v>2271.687239624669</c:v>
                </c:pt>
                <c:pt idx="77">
                  <c:v>2324.7492461067759</c:v>
                </c:pt>
                <c:pt idx="78">
                  <c:v>2377.5702366903415</c:v>
                </c:pt>
                <c:pt idx="79">
                  <c:v>2430.0946750867133</c:v>
                </c:pt>
                <c:pt idx="80">
                  <c:v>2482.2683799065171</c:v>
                </c:pt>
                <c:pt idx="81">
                  <c:v>2534.0387092348287</c:v>
                </c:pt>
                <c:pt idx="82">
                  <c:v>2585.3547224059239</c:v>
                </c:pt>
                <c:pt idx="83">
                  <c:v>2636.167324085764</c:v>
                </c:pt>
                <c:pt idx="84">
                  <c:v>2686.4294294089045</c:v>
                </c:pt>
                <c:pt idx="85">
                  <c:v>2736.0961112435143</c:v>
                </c:pt>
                <c:pt idx="86">
                  <c:v>2785.1247156131235</c:v>
                </c:pt>
                <c:pt idx="87">
                  <c:v>2833.474973189805</c:v>
                </c:pt>
                <c:pt idx="88">
                  <c:v>2881.1091005931285</c:v>
                </c:pt>
                <c:pt idx="89">
                  <c:v>2927.991866899798</c:v>
                </c:pt>
                <c:pt idx="90">
                  <c:v>2974.0906374826818</c:v>
                </c:pt>
                <c:pt idx="91">
                  <c:v>3019.3754275422507</c:v>
                </c:pt>
                <c:pt idx="92">
                  <c:v>3063.8189260329477</c:v>
                </c:pt>
                <c:pt idx="93">
                  <c:v>3107.3964974907763</c:v>
                </c:pt>
                <c:pt idx="94">
                  <c:v>3150.0861819667134</c:v>
                </c:pt>
                <c:pt idx="95">
                  <c:v>3191.8686778842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695.51283794017581</c:v>
                </c:pt>
                <c:pt idx="43">
                  <c:v>729.21986268296121</c:v>
                </c:pt>
                <c:pt idx="44">
                  <c:v>764.21579432980764</c:v>
                </c:pt>
                <c:pt idx="45">
                  <c:v>800.70394217577257</c:v>
                </c:pt>
                <c:pt idx="46">
                  <c:v>838.78559607251339</c:v>
                </c:pt>
                <c:pt idx="47">
                  <c:v>878.32420161768891</c:v>
                </c:pt>
                <c:pt idx="48">
                  <c:v>919.3639188946903</c:v>
                </c:pt>
                <c:pt idx="49">
                  <c:v>961.80575941078382</c:v>
                </c:pt>
                <c:pt idx="50">
                  <c:v>1005.6373064753086</c:v>
                </c:pt>
                <c:pt idx="51">
                  <c:v>1050.9744580877166</c:v>
                </c:pt>
                <c:pt idx="52">
                  <c:v>1097.7241526613793</c:v>
                </c:pt>
                <c:pt idx="53">
                  <c:v>1145.9043210442053</c:v>
                </c:pt>
                <c:pt idx="54">
                  <c:v>1195.6336631855793</c:v>
                </c:pt>
                <c:pt idx="55">
                  <c:v>1246.7945646779913</c:v>
                </c:pt>
                <c:pt idx="56">
                  <c:v>1299.3558574379606</c:v>
                </c:pt>
                <c:pt idx="57">
                  <c:v>1353.3637844002988</c:v>
                </c:pt>
                <c:pt idx="58">
                  <c:v>1408.7639019445814</c:v>
                </c:pt>
                <c:pt idx="59">
                  <c:v>1465.4991146485459</c:v>
                </c:pt>
                <c:pt idx="60">
                  <c:v>1523.5686924437196</c:v>
                </c:pt>
                <c:pt idx="61">
                  <c:v>1582.960126458453</c:v>
                </c:pt>
                <c:pt idx="62">
                  <c:v>1643.5875779084654</c:v>
                </c:pt>
                <c:pt idx="63">
                  <c:v>1705.3883702149626</c:v>
                </c:pt>
                <c:pt idx="64">
                  <c:v>1768.3396532615416</c:v>
                </c:pt>
                <c:pt idx="65">
                  <c:v>1832.3350507765406</c:v>
                </c:pt>
                <c:pt idx="66">
                  <c:v>1897.314467093589</c:v>
                </c:pt>
                <c:pt idx="67">
                  <c:v>1963.2491270710746</c:v>
                </c:pt>
                <c:pt idx="68">
                  <c:v>2030.0142051085884</c:v>
                </c:pt>
                <c:pt idx="69">
                  <c:v>2097.5381004664346</c:v>
                </c:pt>
                <c:pt idx="70">
                  <c:v>2165.7320846895891</c:v>
                </c:pt>
                <c:pt idx="71">
                  <c:v>2234.5035256449355</c:v>
                </c:pt>
                <c:pt idx="72">
                  <c:v>2303.7577343482671</c:v>
                </c:pt>
                <c:pt idx="73">
                  <c:v>2373.3982780670094</c:v>
                </c:pt>
                <c:pt idx="74">
                  <c:v>2443.3268370668734</c:v>
                </c:pt>
                <c:pt idx="75">
                  <c:v>2513.4436090272925</c:v>
                </c:pt>
                <c:pt idx="76">
                  <c:v>2583.6479009765935</c:v>
                </c:pt>
                <c:pt idx="77">
                  <c:v>2653.8387076361987</c:v>
                </c:pt>
                <c:pt idx="78">
                  <c:v>2723.9154162312179</c:v>
                </c:pt>
                <c:pt idx="79">
                  <c:v>2793.7784061103566</c:v>
                </c:pt>
                <c:pt idx="80">
                  <c:v>2863.3295485856866</c:v>
                </c:pt>
                <c:pt idx="81">
                  <c:v>2932.4726967903662</c:v>
                </c:pt>
                <c:pt idx="82">
                  <c:v>3001.1141393462131</c:v>
                </c:pt>
                <c:pt idx="83">
                  <c:v>3069.1630213195995</c:v>
                </c:pt>
                <c:pt idx="84">
                  <c:v>3136.5317790105419</c:v>
                </c:pt>
                <c:pt idx="85">
                  <c:v>3203.1365361467701</c:v>
                </c:pt>
                <c:pt idx="86">
                  <c:v>3268.8974404983787</c:v>
                </c:pt>
                <c:pt idx="87">
                  <c:v>3333.7389754862234</c:v>
                </c:pt>
                <c:pt idx="88">
                  <c:v>3397.5902380738307</c:v>
                </c:pt>
                <c:pt idx="89">
                  <c:v>3460.3851490433908</c:v>
                </c:pt>
                <c:pt idx="90">
                  <c:v>3522.0626107766707</c:v>
                </c:pt>
                <c:pt idx="91">
                  <c:v>3582.5666562007327</c:v>
                </c:pt>
                <c:pt idx="92">
                  <c:v>3641.8465364356548</c:v>
                </c:pt>
                <c:pt idx="93">
                  <c:v>3699.8567579221308</c:v>
                </c:pt>
                <c:pt idx="94">
                  <c:v>3756.5570968095644</c:v>
                </c:pt>
                <c:pt idx="95">
                  <c:v>3811.91257183973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9</c:v>
                </c:pt>
                <c:pt idx="1">
                  <c:v>53</c:v>
                </c:pt>
                <c:pt idx="2">
                  <c:v>53</c:v>
                </c:pt>
                <c:pt idx="3">
                  <c:v>61</c:v>
                </c:pt>
                <c:pt idx="4">
                  <c:v>66</c:v>
                </c:pt>
                <c:pt idx="5">
                  <c:v>72</c:v>
                </c:pt>
                <c:pt idx="6">
                  <c:v>69</c:v>
                </c:pt>
                <c:pt idx="7">
                  <c:v>72</c:v>
                </c:pt>
                <c:pt idx="8">
                  <c:v>69</c:v>
                </c:pt>
                <c:pt idx="9">
                  <c:v>73</c:v>
                </c:pt>
                <c:pt idx="10">
                  <c:v>74</c:v>
                </c:pt>
                <c:pt idx="11">
                  <c:v>78</c:v>
                </c:pt>
                <c:pt idx="12">
                  <c:v>77</c:v>
                </c:pt>
                <c:pt idx="13">
                  <c:v>82</c:v>
                </c:pt>
                <c:pt idx="14">
                  <c:v>72</c:v>
                </c:pt>
                <c:pt idx="15">
                  <c:v>72</c:v>
                </c:pt>
                <c:pt idx="16">
                  <c:v>70</c:v>
                </c:pt>
                <c:pt idx="17">
                  <c:v>88</c:v>
                </c:pt>
                <c:pt idx="18">
                  <c:v>89</c:v>
                </c:pt>
                <c:pt idx="19">
                  <c:v>92</c:v>
                </c:pt>
                <c:pt idx="20">
                  <c:v>92</c:v>
                </c:pt>
                <c:pt idx="21">
                  <c:v>100</c:v>
                </c:pt>
                <c:pt idx="22">
                  <c:v>106</c:v>
                </c:pt>
                <c:pt idx="23">
                  <c:v>113</c:v>
                </c:pt>
                <c:pt idx="24">
                  <c:v>121</c:v>
                </c:pt>
                <c:pt idx="25">
                  <c:v>136</c:v>
                </c:pt>
                <c:pt idx="26">
                  <c:v>142</c:v>
                </c:pt>
                <c:pt idx="27">
                  <c:v>128</c:v>
                </c:pt>
                <c:pt idx="28">
                  <c:v>142</c:v>
                </c:pt>
                <c:pt idx="29">
                  <c:v>146</c:v>
                </c:pt>
                <c:pt idx="30">
                  <c:v>164</c:v>
                </c:pt>
                <c:pt idx="31">
                  <c:v>198</c:v>
                </c:pt>
                <c:pt idx="32">
                  <c:v>238</c:v>
                </c:pt>
                <c:pt idx="33">
                  <c:v>276</c:v>
                </c:pt>
                <c:pt idx="34">
                  <c:v>296</c:v>
                </c:pt>
                <c:pt idx="35">
                  <c:v>319</c:v>
                </c:pt>
                <c:pt idx="36">
                  <c:v>320</c:v>
                </c:pt>
                <c:pt idx="37">
                  <c:v>328</c:v>
                </c:pt>
                <c:pt idx="38">
                  <c:v>375</c:v>
                </c:pt>
                <c:pt idx="39">
                  <c:v>385</c:v>
                </c:pt>
                <c:pt idx="40">
                  <c:v>390</c:v>
                </c:pt>
                <c:pt idx="41">
                  <c:v>400</c:v>
                </c:pt>
                <c:pt idx="42">
                  <c:v>419</c:v>
                </c:pt>
                <c:pt idx="43">
                  <c:v>431</c:v>
                </c:pt>
                <c:pt idx="44">
                  <c:v>440</c:v>
                </c:pt>
                <c:pt idx="45">
                  <c:v>498</c:v>
                </c:pt>
                <c:pt idx="46">
                  <c:v>5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25.69248860420043</c:v>
                </c:pt>
                <c:pt idx="43">
                  <c:v>439.69342575130599</c:v>
                </c:pt>
                <c:pt idx="44">
                  <c:v>453.65398022765442</c:v>
                </c:pt>
                <c:pt idx="45">
                  <c:v>467.0595837383193</c:v>
                </c:pt>
                <c:pt idx="46">
                  <c:v>479.43143939092778</c:v>
                </c:pt>
                <c:pt idx="47">
                  <c:v>490.98749302207773</c:v>
                </c:pt>
                <c:pt idx="48">
                  <c:v>502.17623230418081</c:v>
                </c:pt>
                <c:pt idx="49">
                  <c:v>513.20976210220044</c:v>
                </c:pt>
                <c:pt idx="50">
                  <c:v>524.03322252442308</c:v>
                </c:pt>
                <c:pt idx="51">
                  <c:v>535.19388511945101</c:v>
                </c:pt>
                <c:pt idx="52">
                  <c:v>545.97642640869299</c:v>
                </c:pt>
                <c:pt idx="53">
                  <c:v>555.15672419188172</c:v>
                </c:pt>
                <c:pt idx="54">
                  <c:v>563.50179922551411</c:v>
                </c:pt>
                <c:pt idx="55">
                  <c:v>571.51012443141883</c:v>
                </c:pt>
                <c:pt idx="56">
                  <c:v>579.35725165284884</c:v>
                </c:pt>
                <c:pt idx="57">
                  <c:v>587.11003978182157</c:v>
                </c:pt>
                <c:pt idx="58">
                  <c:v>594.73035472941342</c:v>
                </c:pt>
                <c:pt idx="59">
                  <c:v>602.12659519054978</c:v>
                </c:pt>
                <c:pt idx="60">
                  <c:v>608.91345704494051</c:v>
                </c:pt>
                <c:pt idx="61">
                  <c:v>615.17712632706025</c:v>
                </c:pt>
                <c:pt idx="62">
                  <c:v>620.98754283809603</c:v>
                </c:pt>
                <c:pt idx="63">
                  <c:v>626.38745942677656</c:v>
                </c:pt>
                <c:pt idx="64">
                  <c:v>631.32337541934896</c:v>
                </c:pt>
                <c:pt idx="65">
                  <c:v>635.89414246048818</c:v>
                </c:pt>
                <c:pt idx="66">
                  <c:v>640.02079536400129</c:v>
                </c:pt>
                <c:pt idx="67">
                  <c:v>643.71918779212501</c:v>
                </c:pt>
                <c:pt idx="68">
                  <c:v>646.84441165051248</c:v>
                </c:pt>
                <c:pt idx="69">
                  <c:v>649.45997785116879</c:v>
                </c:pt>
                <c:pt idx="70">
                  <c:v>651.63173354482467</c:v>
                </c:pt>
                <c:pt idx="71">
                  <c:v>653.13891729888883</c:v>
                </c:pt>
                <c:pt idx="72">
                  <c:v>654.13787381132897</c:v>
                </c:pt>
                <c:pt idx="73">
                  <c:v>654.64557576881987</c:v>
                </c:pt>
                <c:pt idx="74">
                  <c:v>654.56257339007345</c:v>
                </c:pt>
                <c:pt idx="75">
                  <c:v>653.92727826686144</c:v>
                </c:pt>
                <c:pt idx="76">
                  <c:v>652.75437165727249</c:v>
                </c:pt>
                <c:pt idx="77">
                  <c:v>651.09541333961829</c:v>
                </c:pt>
                <c:pt idx="78">
                  <c:v>648.79507155413023</c:v>
                </c:pt>
                <c:pt idx="79">
                  <c:v>645.99452877941349</c:v>
                </c:pt>
                <c:pt idx="80">
                  <c:v>642.69029254415318</c:v>
                </c:pt>
                <c:pt idx="81">
                  <c:v>638.79788113384279</c:v>
                </c:pt>
                <c:pt idx="82">
                  <c:v>634.34567132763163</c:v>
                </c:pt>
                <c:pt idx="83">
                  <c:v>629.46340845033944</c:v>
                </c:pt>
                <c:pt idx="84">
                  <c:v>624.10454666784528</c:v>
                </c:pt>
                <c:pt idx="85">
                  <c:v>618.17810325435721</c:v>
                </c:pt>
                <c:pt idx="86">
                  <c:v>611.91569872011496</c:v>
                </c:pt>
                <c:pt idx="87">
                  <c:v>605.26446296168797</c:v>
                </c:pt>
                <c:pt idx="88">
                  <c:v>597.97823349994576</c:v>
                </c:pt>
                <c:pt idx="89">
                  <c:v>590.37960911398329</c:v>
                </c:pt>
                <c:pt idx="90">
                  <c:v>582.47205335561011</c:v>
                </c:pt>
                <c:pt idx="91">
                  <c:v>574.19688672884456</c:v>
                </c:pt>
                <c:pt idx="92">
                  <c:v>565.44637872560247</c:v>
                </c:pt>
                <c:pt idx="93">
                  <c:v>556.37685540000518</c:v>
                </c:pt>
                <c:pt idx="94">
                  <c:v>547.05493676112121</c:v>
                </c:pt>
                <c:pt idx="95">
                  <c:v>537.448667964491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26.68721841121931</c:v>
                </c:pt>
                <c:pt idx="43">
                  <c:v>442.03980292376934</c:v>
                </c:pt>
                <c:pt idx="44">
                  <c:v>457.73373884028723</c:v>
                </c:pt>
                <c:pt idx="45">
                  <c:v>473.26414646551535</c:v>
                </c:pt>
                <c:pt idx="46">
                  <c:v>488.17186749868534</c:v>
                </c:pt>
                <c:pt idx="47">
                  <c:v>502.67316085260194</c:v>
                </c:pt>
                <c:pt idx="48">
                  <c:v>517.22207927369084</c:v>
                </c:pt>
                <c:pt idx="49">
                  <c:v>532.02078737932254</c:v>
                </c:pt>
                <c:pt idx="50">
                  <c:v>547.01253670510232</c:v>
                </c:pt>
                <c:pt idx="51">
                  <c:v>562.73150877041064</c:v>
                </c:pt>
                <c:pt idx="52">
                  <c:v>578.45487432383811</c:v>
                </c:pt>
                <c:pt idx="53">
                  <c:v>592.94303473720004</c:v>
                </c:pt>
                <c:pt idx="54">
                  <c:v>606.9502353426135</c:v>
                </c:pt>
                <c:pt idx="55">
                  <c:v>620.95302181640136</c:v>
                </c:pt>
                <c:pt idx="56">
                  <c:v>635.09606803337351</c:v>
                </c:pt>
                <c:pt idx="57">
                  <c:v>649.38990324058852</c:v>
                </c:pt>
                <c:pt idx="58">
                  <c:v>663.77829924443336</c:v>
                </c:pt>
                <c:pt idx="59">
                  <c:v>678.14220603289778</c:v>
                </c:pt>
                <c:pt idx="60">
                  <c:v>692.07749950622076</c:v>
                </c:pt>
                <c:pt idx="61">
                  <c:v>705.63318660929508</c:v>
                </c:pt>
                <c:pt idx="62">
                  <c:v>718.851582762514</c:v>
                </c:pt>
                <c:pt idx="63">
                  <c:v>731.74269851765166</c:v>
                </c:pt>
                <c:pt idx="64">
                  <c:v>744.21331515878933</c:v>
                </c:pt>
                <c:pt idx="65">
                  <c:v>756.32786650033859</c:v>
                </c:pt>
                <c:pt idx="66">
                  <c:v>767.97916124407675</c:v>
                </c:pt>
                <c:pt idx="67">
                  <c:v>779.15029116535823</c:v>
                </c:pt>
                <c:pt idx="68">
                  <c:v>789.66711349544312</c:v>
                </c:pt>
                <c:pt idx="69">
                  <c:v>799.56268086448313</c:v>
                </c:pt>
                <c:pt idx="70">
                  <c:v>808.87123494062257</c:v>
                </c:pt>
                <c:pt idx="71">
                  <c:v>817.34180495759847</c:v>
                </c:pt>
                <c:pt idx="72">
                  <c:v>825.09967368683851</c:v>
                </c:pt>
                <c:pt idx="73">
                  <c:v>832.13473061926038</c:v>
                </c:pt>
                <c:pt idx="74">
                  <c:v>838.32191327692271</c:v>
                </c:pt>
                <c:pt idx="75">
                  <c:v>843.67472059529121</c:v>
                </c:pt>
                <c:pt idx="76">
                  <c:v>848.18451249803275</c:v>
                </c:pt>
                <c:pt idx="77">
                  <c:v>851.88290188433473</c:v>
                </c:pt>
                <c:pt idx="78">
                  <c:v>854.594592412883</c:v>
                </c:pt>
                <c:pt idx="79">
                  <c:v>856.4443640227355</c:v>
                </c:pt>
                <c:pt idx="80">
                  <c:v>857.4138131843747</c:v>
                </c:pt>
                <c:pt idx="81">
                  <c:v>857.4056950244194</c:v>
                </c:pt>
                <c:pt idx="82">
                  <c:v>856.43690812401337</c:v>
                </c:pt>
                <c:pt idx="83">
                  <c:v>854.62944290088285</c:v>
                </c:pt>
                <c:pt idx="84">
                  <c:v>851.93066224777021</c:v>
                </c:pt>
                <c:pt idx="85">
                  <c:v>848.24573246616501</c:v>
                </c:pt>
                <c:pt idx="86">
                  <c:v>843.80463542628502</c:v>
                </c:pt>
                <c:pt idx="87">
                  <c:v>838.55498501864804</c:v>
                </c:pt>
                <c:pt idx="88">
                  <c:v>832.2522382468826</c:v>
                </c:pt>
                <c:pt idx="89">
                  <c:v>825.22409118638825</c:v>
                </c:pt>
                <c:pt idx="90">
                  <c:v>817.47948867575451</c:v>
                </c:pt>
                <c:pt idx="91">
                  <c:v>808.96760409183503</c:v>
                </c:pt>
                <c:pt idx="92">
                  <c:v>799.57793776034964</c:v>
                </c:pt>
                <c:pt idx="93">
                  <c:v>789.48614538936476</c:v>
                </c:pt>
                <c:pt idx="94">
                  <c:v>778.77110280549493</c:v>
                </c:pt>
                <c:pt idx="95">
                  <c:v>767.41443697721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27.6882765359087</c:v>
                </c:pt>
                <c:pt idx="43">
                  <c:v>444.40877379275037</c:v>
                </c:pt>
                <c:pt idx="44">
                  <c:v>461.86863905165376</c:v>
                </c:pt>
                <c:pt idx="45">
                  <c:v>479.57996196376826</c:v>
                </c:pt>
                <c:pt idx="46">
                  <c:v>497.11127647161334</c:v>
                </c:pt>
                <c:pt idx="47">
                  <c:v>514.68567458034818</c:v>
                </c:pt>
                <c:pt idx="48">
                  <c:v>532.77166813677809</c:v>
                </c:pt>
                <c:pt idx="49">
                  <c:v>551.57047478865707</c:v>
                </c:pt>
                <c:pt idx="50">
                  <c:v>571.03239620738714</c:v>
                </c:pt>
                <c:pt idx="51">
                  <c:v>591.68716931946733</c:v>
                </c:pt>
                <c:pt idx="52">
                  <c:v>612.81266217197856</c:v>
                </c:pt>
                <c:pt idx="53">
                  <c:v>633.16128318607116</c:v>
                </c:pt>
                <c:pt idx="54">
                  <c:v>653.48114288224428</c:v>
                </c:pt>
                <c:pt idx="55">
                  <c:v>674.2324410847832</c:v>
                </c:pt>
                <c:pt idx="56">
                  <c:v>695.53337932666034</c:v>
                </c:pt>
                <c:pt idx="57">
                  <c:v>717.34100994816504</c:v>
                </c:pt>
                <c:pt idx="58">
                  <c:v>739.58247260867472</c:v>
                </c:pt>
                <c:pt idx="59">
                  <c:v>762.11112894957409</c:v>
                </c:pt>
                <c:pt idx="60">
                  <c:v>784.50217551668425</c:v>
                </c:pt>
                <c:pt idx="61">
                  <c:v>806.76373227870204</c:v>
                </c:pt>
                <c:pt idx="62">
                  <c:v>828.90497292008763</c:v>
                </c:pt>
                <c:pt idx="63">
                  <c:v>850.89585204955642</c:v>
                </c:pt>
                <c:pt idx="64">
                  <c:v>872.5943185754752</c:v>
                </c:pt>
                <c:pt idx="65">
                  <c:v>894.01975934627831</c:v>
                </c:pt>
                <c:pt idx="66">
                  <c:v>915.02472015165995</c:v>
                </c:pt>
                <c:pt idx="67">
                  <c:v>935.54591943309799</c:v>
                </c:pt>
                <c:pt idx="68">
                  <c:v>955.36502616885036</c:v>
                </c:pt>
                <c:pt idx="69">
                  <c:v>974.46851059397784</c:v>
                </c:pt>
                <c:pt idx="70">
                  <c:v>992.8419392454889</c:v>
                </c:pt>
                <c:pt idx="71">
                  <c:v>1010.186334267569</c:v>
                </c:pt>
                <c:pt idx="72">
                  <c:v>1026.5777032724513</c:v>
                </c:pt>
                <c:pt idx="73">
                  <c:v>1041.9604570815275</c:v>
                </c:pt>
                <c:pt idx="74">
                  <c:v>1056.1655340123239</c:v>
                </c:pt>
                <c:pt idx="75">
                  <c:v>1069.1633856316323</c:v>
                </c:pt>
                <c:pt idx="76">
                  <c:v>1080.9044234020641</c:v>
                </c:pt>
                <c:pt idx="77">
                  <c:v>1091.3834466197957</c:v>
                </c:pt>
                <c:pt idx="78">
                  <c:v>1100.3893152539422</c:v>
                </c:pt>
                <c:pt idx="79">
                  <c:v>1108.0157401203833</c:v>
                </c:pt>
                <c:pt idx="80">
                  <c:v>1114.216132608959</c:v>
                </c:pt>
                <c:pt idx="81">
                  <c:v>1118.8687754952589</c:v>
                </c:pt>
                <c:pt idx="82">
                  <c:v>1121.9690948738673</c:v>
                </c:pt>
                <c:pt idx="83">
                  <c:v>1123.623178262168</c:v>
                </c:pt>
                <c:pt idx="84">
                  <c:v>1123.7660855289578</c:v>
                </c:pt>
                <c:pt idx="85">
                  <c:v>1122.2949175990198</c:v>
                </c:pt>
                <c:pt idx="86">
                  <c:v>1119.435830569769</c:v>
                </c:pt>
                <c:pt idx="87">
                  <c:v>1115.1367574783335</c:v>
                </c:pt>
                <c:pt idx="88">
                  <c:v>1109.1565978567874</c:v>
                </c:pt>
                <c:pt idx="89">
                  <c:v>1101.8319101062266</c:v>
                </c:pt>
                <c:pt idx="90">
                  <c:v>1093.182737227794</c:v>
                </c:pt>
                <c:pt idx="91">
                  <c:v>1083.1734737035963</c:v>
                </c:pt>
                <c:pt idx="92">
                  <c:v>1071.6997655641562</c:v>
                </c:pt>
                <c:pt idx="93">
                  <c:v>1058.9670200817159</c:v>
                </c:pt>
                <c:pt idx="94">
                  <c:v>1045.0780727296035</c:v>
                </c:pt>
                <c:pt idx="95">
                  <c:v>1030.04096632412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0</c:v>
                </c:pt>
                <c:pt idx="1">
                  <c:v>30</c:v>
                </c:pt>
                <c:pt idx="2">
                  <c:v>30</c:v>
                </c:pt>
                <c:pt idx="3">
                  <c:v>33</c:v>
                </c:pt>
                <c:pt idx="4">
                  <c:v>34</c:v>
                </c:pt>
                <c:pt idx="5">
                  <c:v>34</c:v>
                </c:pt>
                <c:pt idx="6">
                  <c:v>35</c:v>
                </c:pt>
                <c:pt idx="7">
                  <c:v>35</c:v>
                </c:pt>
                <c:pt idx="8">
                  <c:v>38</c:v>
                </c:pt>
                <c:pt idx="9">
                  <c:v>41</c:v>
                </c:pt>
                <c:pt idx="10">
                  <c:v>42</c:v>
                </c:pt>
                <c:pt idx="11">
                  <c:v>45</c:v>
                </c:pt>
                <c:pt idx="12">
                  <c:v>48</c:v>
                </c:pt>
                <c:pt idx="13">
                  <c:v>53</c:v>
                </c:pt>
                <c:pt idx="14">
                  <c:v>56</c:v>
                </c:pt>
                <c:pt idx="15">
                  <c:v>57</c:v>
                </c:pt>
                <c:pt idx="16">
                  <c:v>61</c:v>
                </c:pt>
                <c:pt idx="17">
                  <c:v>65</c:v>
                </c:pt>
                <c:pt idx="18">
                  <c:v>74</c:v>
                </c:pt>
                <c:pt idx="19">
                  <c:v>77</c:v>
                </c:pt>
                <c:pt idx="20">
                  <c:v>83</c:v>
                </c:pt>
                <c:pt idx="21">
                  <c:v>86</c:v>
                </c:pt>
                <c:pt idx="22">
                  <c:v>89</c:v>
                </c:pt>
                <c:pt idx="23">
                  <c:v>94</c:v>
                </c:pt>
                <c:pt idx="24">
                  <c:v>101</c:v>
                </c:pt>
                <c:pt idx="25">
                  <c:v>112</c:v>
                </c:pt>
                <c:pt idx="26">
                  <c:v>119</c:v>
                </c:pt>
                <c:pt idx="27">
                  <c:v>127</c:v>
                </c:pt>
                <c:pt idx="28">
                  <c:v>143</c:v>
                </c:pt>
                <c:pt idx="29">
                  <c:v>153</c:v>
                </c:pt>
                <c:pt idx="30">
                  <c:v>167</c:v>
                </c:pt>
                <c:pt idx="31">
                  <c:v>192</c:v>
                </c:pt>
                <c:pt idx="32">
                  <c:v>210</c:v>
                </c:pt>
                <c:pt idx="33">
                  <c:v>225</c:v>
                </c:pt>
                <c:pt idx="34">
                  <c:v>249</c:v>
                </c:pt>
                <c:pt idx="35">
                  <c:v>272</c:v>
                </c:pt>
                <c:pt idx="36">
                  <c:v>286</c:v>
                </c:pt>
                <c:pt idx="37">
                  <c:v>298</c:v>
                </c:pt>
                <c:pt idx="38">
                  <c:v>326</c:v>
                </c:pt>
                <c:pt idx="39">
                  <c:v>353</c:v>
                </c:pt>
                <c:pt idx="40">
                  <c:v>374</c:v>
                </c:pt>
                <c:pt idx="41">
                  <c:v>392</c:v>
                </c:pt>
                <c:pt idx="42">
                  <c:v>420</c:v>
                </c:pt>
                <c:pt idx="43">
                  <c:v>436</c:v>
                </c:pt>
                <c:pt idx="44">
                  <c:v>458</c:v>
                </c:pt>
                <c:pt idx="45">
                  <c:v>499</c:v>
                </c:pt>
                <c:pt idx="46">
                  <c:v>5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13.57254268528322</c:v>
                </c:pt>
                <c:pt idx="43">
                  <c:v>437.64425508845238</c:v>
                </c:pt>
                <c:pt idx="44">
                  <c:v>462.2342643989353</c:v>
                </c:pt>
                <c:pt idx="45">
                  <c:v>487.4472897174482</c:v>
                </c:pt>
                <c:pt idx="46">
                  <c:v>513.31208823272505</c:v>
                </c:pt>
                <c:pt idx="47">
                  <c:v>539.68269757491726</c:v>
                </c:pt>
                <c:pt idx="48">
                  <c:v>566.55377727958455</c:v>
                </c:pt>
                <c:pt idx="49">
                  <c:v>593.81662372958931</c:v>
                </c:pt>
                <c:pt idx="50">
                  <c:v>621.42729891820511</c:v>
                </c:pt>
                <c:pt idx="51">
                  <c:v>649.44435340539872</c:v>
                </c:pt>
                <c:pt idx="52">
                  <c:v>677.77329266511538</c:v>
                </c:pt>
                <c:pt idx="53">
                  <c:v>706.4039945537246</c:v>
                </c:pt>
                <c:pt idx="54">
                  <c:v>735.40771027143512</c:v>
                </c:pt>
                <c:pt idx="55">
                  <c:v>764.67956292609483</c:v>
                </c:pt>
                <c:pt idx="56">
                  <c:v>794.18386671600786</c:v>
                </c:pt>
                <c:pt idx="57">
                  <c:v>823.94694779234692</c:v>
                </c:pt>
                <c:pt idx="58">
                  <c:v>853.92218920271603</c:v>
                </c:pt>
                <c:pt idx="59">
                  <c:v>884.06606583760481</c:v>
                </c:pt>
                <c:pt idx="60">
                  <c:v>914.38156127071159</c:v>
                </c:pt>
                <c:pt idx="61">
                  <c:v>944.86396740220789</c:v>
                </c:pt>
                <c:pt idx="62">
                  <c:v>975.46065266093342</c:v>
                </c:pt>
                <c:pt idx="63">
                  <c:v>1006.139523064531</c:v>
                </c:pt>
                <c:pt idx="64">
                  <c:v>1036.902076023513</c:v>
                </c:pt>
                <c:pt idx="65">
                  <c:v>1067.69043829867</c:v>
                </c:pt>
                <c:pt idx="66">
                  <c:v>1098.4854725358164</c:v>
                </c:pt>
                <c:pt idx="67">
                  <c:v>1129.2968256133618</c:v>
                </c:pt>
                <c:pt idx="68">
                  <c:v>1160.0628451285884</c:v>
                </c:pt>
                <c:pt idx="69">
                  <c:v>1190.7674098738162</c:v>
                </c:pt>
                <c:pt idx="70">
                  <c:v>1221.3844506561077</c:v>
                </c:pt>
                <c:pt idx="71">
                  <c:v>1251.8880151398325</c:v>
                </c:pt>
                <c:pt idx="72">
                  <c:v>1282.2528828202639</c:v>
                </c:pt>
                <c:pt idx="73">
                  <c:v>1312.4545618852669</c:v>
                </c:pt>
                <c:pt idx="74">
                  <c:v>1342.4690935002582</c:v>
                </c:pt>
                <c:pt idx="75">
                  <c:v>1372.273062895021</c:v>
                </c:pt>
                <c:pt idx="76">
                  <c:v>1401.8436780772406</c:v>
                </c:pt>
                <c:pt idx="77">
                  <c:v>1431.1588399884108</c:v>
                </c:pt>
                <c:pt idx="78">
                  <c:v>1460.1972584932362</c:v>
                </c:pt>
                <c:pt idx="79">
                  <c:v>1488.9385235102504</c:v>
                </c:pt>
                <c:pt idx="80">
                  <c:v>1517.363137124386</c:v>
                </c:pt>
                <c:pt idx="81">
                  <c:v>1545.4525451032132</c:v>
                </c:pt>
                <c:pt idx="82">
                  <c:v>1573.1891575724831</c:v>
                </c:pt>
                <c:pt idx="83">
                  <c:v>1600.5563621318531</c:v>
                </c:pt>
                <c:pt idx="84">
                  <c:v>1627.5385520813979</c:v>
                </c:pt>
                <c:pt idx="85">
                  <c:v>1654.1211484325643</c:v>
                </c:pt>
                <c:pt idx="86">
                  <c:v>1680.2906084914594</c:v>
                </c:pt>
                <c:pt idx="87">
                  <c:v>1706.0344367471903</c:v>
                </c:pt>
                <c:pt idx="88">
                  <c:v>1731.3411944341817</c:v>
                </c:pt>
                <c:pt idx="89">
                  <c:v>1756.2004949200557</c:v>
                </c:pt>
                <c:pt idx="90">
                  <c:v>1780.6029921178142</c:v>
                </c:pt>
                <c:pt idx="91">
                  <c:v>1804.5403786114198</c:v>
                </c:pt>
                <c:pt idx="92">
                  <c:v>1828.0053730154812</c:v>
                </c:pt>
                <c:pt idx="93">
                  <c:v>1850.9917002282102</c:v>
                </c:pt>
                <c:pt idx="94">
                  <c:v>1873.4940754146655</c:v>
                </c:pt>
                <c:pt idx="95">
                  <c:v>1895.50818294997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14.06314921125863</c:v>
                </c:pt>
                <c:pt idx="43">
                  <c:v>438.82192568760985</c:v>
                </c:pt>
                <c:pt idx="44">
                  <c:v>464.31855916916152</c:v>
                </c:pt>
                <c:pt idx="45">
                  <c:v>490.68002447403768</c:v>
                </c:pt>
                <c:pt idx="46">
                  <c:v>517.95654929361694</c:v>
                </c:pt>
                <c:pt idx="47">
                  <c:v>546.02241310392878</c:v>
                </c:pt>
                <c:pt idx="48">
                  <c:v>574.88965042496488</c:v>
                </c:pt>
                <c:pt idx="49">
                  <c:v>604.46492866978542</c:v>
                </c:pt>
                <c:pt idx="50">
                  <c:v>634.71745192503181</c:v>
                </c:pt>
                <c:pt idx="51">
                  <c:v>665.71704308155768</c:v>
                </c:pt>
                <c:pt idx="52">
                  <c:v>697.37926211685772</c:v>
                </c:pt>
                <c:pt idx="53">
                  <c:v>729.70213831889669</c:v>
                </c:pt>
                <c:pt idx="54">
                  <c:v>762.76347850744753</c:v>
                </c:pt>
                <c:pt idx="55">
                  <c:v>796.46339095739654</c:v>
                </c:pt>
                <c:pt idx="56">
                  <c:v>830.76950705255217</c:v>
                </c:pt>
                <c:pt idx="57">
                  <c:v>865.70976715013717</c:v>
                </c:pt>
                <c:pt idx="58">
                  <c:v>901.23776254280335</c:v>
                </c:pt>
                <c:pt idx="59">
                  <c:v>937.30870327758453</c:v>
                </c:pt>
                <c:pt idx="60">
                  <c:v>973.92253976645736</c:v>
                </c:pt>
                <c:pt idx="61">
                  <c:v>1011.0698156125434</c:v>
                </c:pt>
                <c:pt idx="62">
                  <c:v>1048.6916489004188</c:v>
                </c:pt>
                <c:pt idx="63">
                  <c:v>1086.7479719241999</c:v>
                </c:pt>
                <c:pt idx="64">
                  <c:v>1125.230648228146</c:v>
                </c:pt>
                <c:pt idx="65">
                  <c:v>1164.071215892166</c:v>
                </c:pt>
                <c:pt idx="66">
                  <c:v>1203.2387869712284</c:v>
                </c:pt>
                <c:pt idx="67">
                  <c:v>1242.7296500521197</c:v>
                </c:pt>
                <c:pt idx="68">
                  <c:v>1282.467504344871</c:v>
                </c:pt>
                <c:pt idx="69">
                  <c:v>1322.4202237866816</c:v>
                </c:pt>
                <c:pt idx="70">
                  <c:v>1362.5445739769693</c:v>
                </c:pt>
                <c:pt idx="71">
                  <c:v>1402.7963881876065</c:v>
                </c:pt>
                <c:pt idx="72">
                  <c:v>1443.1315096062394</c:v>
                </c:pt>
                <c:pt idx="73">
                  <c:v>1483.5058700430375</c:v>
                </c:pt>
                <c:pt idx="74">
                  <c:v>1523.8753028126357</c:v>
                </c:pt>
                <c:pt idx="75">
                  <c:v>1564.1956518232764</c:v>
                </c:pt>
                <c:pt idx="76">
                  <c:v>1604.4229774741357</c:v>
                </c:pt>
                <c:pt idx="77">
                  <c:v>1644.5137506929764</c:v>
                </c:pt>
                <c:pt idx="78">
                  <c:v>1684.4251140270021</c:v>
                </c:pt>
                <c:pt idx="79">
                  <c:v>1724.1150801899287</c:v>
                </c:pt>
                <c:pt idx="80">
                  <c:v>1763.5426749469721</c:v>
                </c:pt>
                <c:pt idx="81">
                  <c:v>1802.6680767640332</c:v>
                </c:pt>
                <c:pt idx="82">
                  <c:v>1841.4527397385918</c:v>
                </c:pt>
                <c:pt idx="83">
                  <c:v>1879.8595032275171</c:v>
                </c:pt>
                <c:pt idx="84">
                  <c:v>1917.8527168825628</c:v>
                </c:pt>
                <c:pt idx="85">
                  <c:v>1955.3983526195311</c:v>
                </c:pt>
                <c:pt idx="86">
                  <c:v>1992.4640928329475</c:v>
                </c:pt>
                <c:pt idx="87">
                  <c:v>2029.0194153291109</c:v>
                </c:pt>
                <c:pt idx="88">
                  <c:v>2065.0356703118887</c:v>
                </c:pt>
                <c:pt idx="89">
                  <c:v>2100.4861313636766</c:v>
                </c:pt>
                <c:pt idx="90">
                  <c:v>2135.3460296826988</c:v>
                </c:pt>
                <c:pt idx="91">
                  <c:v>2169.5925948788004</c:v>
                </c:pt>
                <c:pt idx="92">
                  <c:v>2203.2050739470683</c:v>
                </c:pt>
                <c:pt idx="93">
                  <c:v>2236.1647336270739</c:v>
                </c:pt>
                <c:pt idx="94">
                  <c:v>2268.4548611388755</c:v>
                </c:pt>
                <c:pt idx="95">
                  <c:v>2300.06075175400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14.55687193294739</c:v>
                </c:pt>
                <c:pt idx="43">
                  <c:v>440.01085731744524</c:v>
                </c:pt>
                <c:pt idx="44">
                  <c:v>466.43064234611296</c:v>
                </c:pt>
                <c:pt idx="45">
                  <c:v>493.96946799122679</c:v>
                </c:pt>
                <c:pt idx="46">
                  <c:v>522.70362242301906</c:v>
                </c:pt>
                <c:pt idx="47">
                  <c:v>552.53273784006683</c:v>
                </c:pt>
                <c:pt idx="48">
                  <c:v>583.49179948686947</c:v>
                </c:pt>
                <c:pt idx="49">
                  <c:v>615.50881870163573</c:v>
                </c:pt>
                <c:pt idx="50">
                  <c:v>648.57241253359405</c:v>
                </c:pt>
                <c:pt idx="51">
                  <c:v>682.77016336885413</c:v>
                </c:pt>
                <c:pt idx="52">
                  <c:v>718.0342856385837</c:v>
                </c:pt>
                <c:pt idx="53">
                  <c:v>754.37754269477978</c:v>
                </c:pt>
                <c:pt idx="54">
                  <c:v>791.89076126709881</c:v>
                </c:pt>
                <c:pt idx="55">
                  <c:v>830.48526563675466</c:v>
                </c:pt>
                <c:pt idx="56">
                  <c:v>870.13793227709948</c:v>
                </c:pt>
                <c:pt idx="57">
                  <c:v>910.88380072885388</c:v>
                </c:pt>
                <c:pt idx="58">
                  <c:v>952.6816534235362</c:v>
                </c:pt>
                <c:pt idx="59">
                  <c:v>995.48981987145817</c:v>
                </c:pt>
                <c:pt idx="60">
                  <c:v>1039.3088445645371</c:v>
                </c:pt>
                <c:pt idx="61">
                  <c:v>1084.1273128625539</c:v>
                </c:pt>
                <c:pt idx="62">
                  <c:v>1129.8819556128119</c:v>
                </c:pt>
                <c:pt idx="63">
                  <c:v>1176.5256232060262</c:v>
                </c:pt>
                <c:pt idx="64">
                  <c:v>1224.0404049868566</c:v>
                </c:pt>
                <c:pt idx="65">
                  <c:v>1272.3461399423763</c:v>
                </c:pt>
                <c:pt idx="66">
                  <c:v>1321.3980828791057</c:v>
                </c:pt>
                <c:pt idx="67">
                  <c:v>1371.1759246900986</c:v>
                </c:pt>
                <c:pt idx="68">
                  <c:v>1421.5843747608158</c:v>
                </c:pt>
                <c:pt idx="69">
                  <c:v>1472.5698805049219</c:v>
                </c:pt>
                <c:pt idx="70">
                  <c:v>1524.0655929738189</c:v>
                </c:pt>
                <c:pt idx="71">
                  <c:v>1576.0017054428301</c:v>
                </c:pt>
                <c:pt idx="72">
                  <c:v>1628.3068385091874</c:v>
                </c:pt>
                <c:pt idx="73">
                  <c:v>1680.9082728440828</c:v>
                </c:pt>
                <c:pt idx="74">
                  <c:v>1733.7318382439526</c:v>
                </c:pt>
                <c:pt idx="75">
                  <c:v>1786.7022190264634</c:v>
                </c:pt>
                <c:pt idx="76">
                  <c:v>1839.7434003205078</c:v>
                </c:pt>
                <c:pt idx="77">
                  <c:v>1892.7791045009044</c:v>
                </c:pt>
                <c:pt idx="78">
                  <c:v>1945.7333255338153</c:v>
                </c:pt>
                <c:pt idx="79">
                  <c:v>1998.5307814002031</c:v>
                </c:pt>
                <c:pt idx="80">
                  <c:v>2051.0972918295965</c:v>
                </c:pt>
                <c:pt idx="81">
                  <c:v>2103.3601487379378</c:v>
                </c:pt>
                <c:pt idx="82">
                  <c:v>2155.2484601539436</c:v>
                </c:pt>
                <c:pt idx="83">
                  <c:v>2206.693469622332</c:v>
                </c:pt>
                <c:pt idx="84">
                  <c:v>2257.6288855671173</c:v>
                </c:pt>
                <c:pt idx="85">
                  <c:v>2307.9911821673259</c:v>
                </c:pt>
                <c:pt idx="86">
                  <c:v>2357.7198557566699</c:v>
                </c:pt>
                <c:pt idx="87">
                  <c:v>2406.757661996854</c:v>
                </c:pt>
                <c:pt idx="88">
                  <c:v>2455.0508273346327</c:v>
                </c:pt>
                <c:pt idx="89">
                  <c:v>2502.5492098094401</c:v>
                </c:pt>
                <c:pt idx="90">
                  <c:v>2549.2064207396093</c:v>
                </c:pt>
                <c:pt idx="91">
                  <c:v>2594.979938735723</c:v>
                </c:pt>
                <c:pt idx="92">
                  <c:v>2639.8311781327011</c:v>
                </c:pt>
                <c:pt idx="93">
                  <c:v>2683.7255193527076</c:v>
                </c:pt>
                <c:pt idx="94">
                  <c:v>2726.6323218034372</c:v>
                </c:pt>
                <c:pt idx="95">
                  <c:v>2768.52490502794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9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  <c:pt idx="5">
                  <c:v>21</c:v>
                </c:pt>
                <c:pt idx="6">
                  <c:v>21</c:v>
                </c:pt>
                <c:pt idx="7">
                  <c:v>21</c:v>
                </c:pt>
                <c:pt idx="8">
                  <c:v>21</c:v>
                </c:pt>
                <c:pt idx="9">
                  <c:v>21</c:v>
                </c:pt>
                <c:pt idx="10">
                  <c:v>21</c:v>
                </c:pt>
                <c:pt idx="11">
                  <c:v>23</c:v>
                </c:pt>
                <c:pt idx="12">
                  <c:v>25</c:v>
                </c:pt>
                <c:pt idx="13">
                  <c:v>27</c:v>
                </c:pt>
                <c:pt idx="14">
                  <c:v>29</c:v>
                </c:pt>
                <c:pt idx="15">
                  <c:v>30</c:v>
                </c:pt>
                <c:pt idx="16">
                  <c:v>30</c:v>
                </c:pt>
                <c:pt idx="17">
                  <c:v>33</c:v>
                </c:pt>
                <c:pt idx="18">
                  <c:v>35</c:v>
                </c:pt>
                <c:pt idx="19">
                  <c:v>36</c:v>
                </c:pt>
                <c:pt idx="20">
                  <c:v>38</c:v>
                </c:pt>
                <c:pt idx="21">
                  <c:v>38</c:v>
                </c:pt>
                <c:pt idx="22">
                  <c:v>40</c:v>
                </c:pt>
                <c:pt idx="23">
                  <c:v>41</c:v>
                </c:pt>
                <c:pt idx="24">
                  <c:v>43</c:v>
                </c:pt>
                <c:pt idx="25">
                  <c:v>43</c:v>
                </c:pt>
                <c:pt idx="26">
                  <c:v>43</c:v>
                </c:pt>
                <c:pt idx="27">
                  <c:v>46</c:v>
                </c:pt>
                <c:pt idx="28">
                  <c:v>46</c:v>
                </c:pt>
                <c:pt idx="29">
                  <c:v>48</c:v>
                </c:pt>
                <c:pt idx="30">
                  <c:v>50</c:v>
                </c:pt>
                <c:pt idx="31">
                  <c:v>50</c:v>
                </c:pt>
                <c:pt idx="32">
                  <c:v>55</c:v>
                </c:pt>
                <c:pt idx="33">
                  <c:v>59</c:v>
                </c:pt>
                <c:pt idx="34">
                  <c:v>61</c:v>
                </c:pt>
                <c:pt idx="35">
                  <c:v>64</c:v>
                </c:pt>
                <c:pt idx="36">
                  <c:v>70</c:v>
                </c:pt>
                <c:pt idx="37">
                  <c:v>70</c:v>
                </c:pt>
                <c:pt idx="38">
                  <c:v>76</c:v>
                </c:pt>
                <c:pt idx="39">
                  <c:v>81</c:v>
                </c:pt>
                <c:pt idx="40">
                  <c:v>93</c:v>
                </c:pt>
                <c:pt idx="41">
                  <c:v>101</c:v>
                </c:pt>
                <c:pt idx="42">
                  <c:v>108</c:v>
                </c:pt>
                <c:pt idx="43">
                  <c:v>110</c:v>
                </c:pt>
                <c:pt idx="44">
                  <c:v>112</c:v>
                </c:pt>
                <c:pt idx="45">
                  <c:v>121</c:v>
                </c:pt>
                <c:pt idx="46">
                  <c:v>1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06.06344354899892</c:v>
                </c:pt>
                <c:pt idx="43">
                  <c:v>111.23826753168885</c:v>
                </c:pt>
                <c:pt idx="44">
                  <c:v>116.53206468687819</c:v>
                </c:pt>
                <c:pt idx="45">
                  <c:v>121.96757062413073</c:v>
                </c:pt>
                <c:pt idx="46">
                  <c:v>127.55107301568016</c:v>
                </c:pt>
                <c:pt idx="47">
                  <c:v>133.24749409146705</c:v>
                </c:pt>
                <c:pt idx="48">
                  <c:v>139.05362019664406</c:v>
                </c:pt>
                <c:pt idx="49">
                  <c:v>144.94260358795282</c:v>
                </c:pt>
                <c:pt idx="50">
                  <c:v>150.90778231222356</c:v>
                </c:pt>
                <c:pt idx="51">
                  <c:v>156.96192395866601</c:v>
                </c:pt>
                <c:pt idx="52">
                  <c:v>163.08170755292664</c:v>
                </c:pt>
                <c:pt idx="53">
                  <c:v>169.26624665722096</c:v>
                </c:pt>
                <c:pt idx="54">
                  <c:v>175.52962702672335</c:v>
                </c:pt>
                <c:pt idx="55">
                  <c:v>181.84939894376106</c:v>
                </c:pt>
                <c:pt idx="56">
                  <c:v>188.21767204193139</c:v>
                </c:pt>
                <c:pt idx="57">
                  <c:v>194.64028718507569</c:v>
                </c:pt>
                <c:pt idx="58">
                  <c:v>201.10766433549011</c:v>
                </c:pt>
                <c:pt idx="59">
                  <c:v>207.60889176526865</c:v>
                </c:pt>
                <c:pt idx="60">
                  <c:v>214.14352323634918</c:v>
                </c:pt>
                <c:pt idx="61">
                  <c:v>220.71340971956073</c:v>
                </c:pt>
                <c:pt idx="62">
                  <c:v>227.3055122074193</c:v>
                </c:pt>
                <c:pt idx="63">
                  <c:v>233.91299276141282</c:v>
                </c:pt>
                <c:pt idx="64">
                  <c:v>240.53733342449601</c:v>
                </c:pt>
                <c:pt idx="65">
                  <c:v>247.16614589688749</c:v>
                </c:pt>
                <c:pt idx="66">
                  <c:v>253.79477459777692</c:v>
                </c:pt>
                <c:pt idx="67">
                  <c:v>260.42373633257989</c:v>
                </c:pt>
                <c:pt idx="68">
                  <c:v>267.04135123267508</c:v>
                </c:pt>
                <c:pt idx="69">
                  <c:v>273.64372349435223</c:v>
                </c:pt>
                <c:pt idx="70">
                  <c:v>280.22526295963047</c:v>
                </c:pt>
                <c:pt idx="71">
                  <c:v>286.78040302968998</c:v>
                </c:pt>
                <c:pt idx="72">
                  <c:v>293.30373829828426</c:v>
                </c:pt>
                <c:pt idx="73">
                  <c:v>299.79002555515001</c:v>
                </c:pt>
                <c:pt idx="74">
                  <c:v>306.2341429074844</c:v>
                </c:pt>
                <c:pt idx="75">
                  <c:v>312.63109148126</c:v>
                </c:pt>
                <c:pt idx="76">
                  <c:v>318.9760122643292</c:v>
                </c:pt>
                <c:pt idx="77">
                  <c:v>325.26420100585221</c:v>
                </c:pt>
                <c:pt idx="78">
                  <c:v>331.49113153837129</c:v>
                </c:pt>
                <c:pt idx="79">
                  <c:v>337.65247117967772</c:v>
                </c:pt>
                <c:pt idx="80">
                  <c:v>343.74408743140452</c:v>
                </c:pt>
                <c:pt idx="81">
                  <c:v>349.76205463549127</c:v>
                </c:pt>
                <c:pt idx="82">
                  <c:v>355.70265787315964</c:v>
                </c:pt>
                <c:pt idx="83">
                  <c:v>361.56239519145788</c:v>
                </c:pt>
                <c:pt idx="84">
                  <c:v>367.33798362051505</c:v>
                </c:pt>
                <c:pt idx="85">
                  <c:v>373.02636345315665</c:v>
                </c:pt>
                <c:pt idx="86">
                  <c:v>378.62469941661163</c:v>
                </c:pt>
                <c:pt idx="87">
                  <c:v>384.13038265571652</c:v>
                </c:pt>
                <c:pt idx="88">
                  <c:v>389.5410326971267</c:v>
                </c:pt>
                <c:pt idx="89">
                  <c:v>394.85449613561445</c:v>
                </c:pt>
                <c:pt idx="90">
                  <c:v>400.06884346606523</c:v>
                </c:pt>
                <c:pt idx="91">
                  <c:v>405.18236872938041</c:v>
                </c:pt>
                <c:pt idx="92">
                  <c:v>410.19358634056539</c:v>
                </c:pt>
                <c:pt idx="93">
                  <c:v>415.10122631922059</c:v>
                </c:pt>
                <c:pt idx="94">
                  <c:v>419.90423049650826</c:v>
                </c:pt>
                <c:pt idx="95">
                  <c:v>424.60174788114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06.1716587965296</c:v>
                </c:pt>
                <c:pt idx="43">
                  <c:v>111.49804087244303</c:v>
                </c:pt>
                <c:pt idx="44">
                  <c:v>116.99180058996342</c:v>
                </c:pt>
                <c:pt idx="45">
                  <c:v>122.68054560650121</c:v>
                </c:pt>
                <c:pt idx="46">
                  <c:v>128.57525710109741</c:v>
                </c:pt>
                <c:pt idx="47">
                  <c:v>134.64525640560129</c:v>
                </c:pt>
                <c:pt idx="48">
                  <c:v>140.8910357125564</c:v>
                </c:pt>
                <c:pt idx="49">
                  <c:v>147.28898731768655</c:v>
                </c:pt>
                <c:pt idx="50">
                  <c:v>153.83516769006789</c:v>
                </c:pt>
                <c:pt idx="51">
                  <c:v>160.54464490887989</c:v>
                </c:pt>
                <c:pt idx="52">
                  <c:v>167.39614214488898</c:v>
                </c:pt>
                <c:pt idx="53">
                  <c:v>174.39038402885518</c:v>
                </c:pt>
                <c:pt idx="54">
                  <c:v>181.54273057461342</c:v>
                </c:pt>
                <c:pt idx="55">
                  <c:v>188.83165819148257</c:v>
                </c:pt>
                <c:pt idx="56">
                  <c:v>196.2498395935163</c:v>
                </c:pt>
                <c:pt idx="57">
                  <c:v>203.80331524155147</c:v>
                </c:pt>
                <c:pt idx="58">
                  <c:v>211.48240848534164</c:v>
                </c:pt>
                <c:pt idx="59">
                  <c:v>219.2757956898291</c:v>
                </c:pt>
                <c:pt idx="60">
                  <c:v>227.18224029606446</c:v>
                </c:pt>
                <c:pt idx="61">
                  <c:v>235.20243775526552</c:v>
                </c:pt>
                <c:pt idx="62">
                  <c:v>243.32188696597305</c:v>
                </c:pt>
                <c:pt idx="63">
                  <c:v>251.53191439531921</c:v>
                </c:pt>
                <c:pt idx="64">
                  <c:v>259.83180663166797</c:v>
                </c:pt>
                <c:pt idx="65">
                  <c:v>268.20678773427608</c:v>
                </c:pt>
                <c:pt idx="66">
                  <c:v>276.64956658750441</c:v>
                </c:pt>
                <c:pt idx="67">
                  <c:v>285.15768407176205</c:v>
                </c:pt>
                <c:pt idx="68">
                  <c:v>293.71620980881903</c:v>
                </c:pt>
                <c:pt idx="69">
                  <c:v>302.31771591959409</c:v>
                </c:pt>
                <c:pt idx="70">
                  <c:v>310.95283887109713</c:v>
                </c:pt>
                <c:pt idx="71">
                  <c:v>319.61201810725913</c:v>
                </c:pt>
                <c:pt idx="72">
                  <c:v>328.28570689446633</c:v>
                </c:pt>
                <c:pt idx="73">
                  <c:v>336.96439191008915</c:v>
                </c:pt>
                <c:pt idx="74">
                  <c:v>345.63855486359944</c:v>
                </c:pt>
                <c:pt idx="75">
                  <c:v>354.29869527624567</c:v>
                </c:pt>
                <c:pt idx="76">
                  <c:v>362.93537489155739</c:v>
                </c:pt>
                <c:pt idx="77">
                  <c:v>371.53925929908223</c:v>
                </c:pt>
                <c:pt idx="78">
                  <c:v>380.10117185100836</c:v>
                </c:pt>
                <c:pt idx="79">
                  <c:v>388.61213658816104</c:v>
                </c:pt>
                <c:pt idx="80">
                  <c:v>397.06340868529753</c:v>
                </c:pt>
                <c:pt idx="81">
                  <c:v>405.44650417069306</c:v>
                </c:pt>
                <c:pt idx="82">
                  <c:v>413.75322540181941</c:v>
                </c:pt>
                <c:pt idx="83">
                  <c:v>421.97568360318695</c:v>
                </c:pt>
                <c:pt idx="84">
                  <c:v>430.1063253557499</c:v>
                </c:pt>
                <c:pt idx="85">
                  <c:v>438.13795571875636</c:v>
                </c:pt>
                <c:pt idx="86">
                  <c:v>446.0637558607242</c:v>
                </c:pt>
                <c:pt idx="87">
                  <c:v>453.87730039048824</c:v>
                </c:pt>
                <c:pt idx="88">
                  <c:v>461.57257329883163</c:v>
                </c:pt>
                <c:pt idx="89">
                  <c:v>469.14397795787431</c:v>
                </c:pt>
                <c:pt idx="90">
                  <c:v>476.58634303037491</c:v>
                </c:pt>
                <c:pt idx="91">
                  <c:v>483.89493077293832</c:v>
                </c:pt>
                <c:pt idx="92">
                  <c:v>491.06543995179925</c:v>
                </c:pt>
                <c:pt idx="93">
                  <c:v>498.09400508686525</c:v>
                </c:pt>
                <c:pt idx="94">
                  <c:v>504.97719559523296</c:v>
                </c:pt>
                <c:pt idx="95">
                  <c:v>511.71201244915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06.28055655614938</c:v>
                </c:pt>
                <c:pt idx="43">
                  <c:v>111.76028593399127</c:v>
                </c:pt>
                <c:pt idx="44">
                  <c:v>117.45764336810791</c:v>
                </c:pt>
                <c:pt idx="45">
                  <c:v>123.40599132719768</c:v>
                </c:pt>
                <c:pt idx="46">
                  <c:v>129.62201287184325</c:v>
                </c:pt>
                <c:pt idx="47">
                  <c:v>136.08054888966012</c:v>
                </c:pt>
                <c:pt idx="48">
                  <c:v>142.78701720917604</c:v>
                </c:pt>
                <c:pt idx="49">
                  <c:v>149.72235384247682</c:v>
                </c:pt>
                <c:pt idx="50">
                  <c:v>156.88669816339845</c:v>
                </c:pt>
                <c:pt idx="51">
                  <c:v>164.29882540563173</c:v>
                </c:pt>
                <c:pt idx="52">
                  <c:v>171.94092833338323</c:v>
                </c:pt>
                <c:pt idx="53">
                  <c:v>179.81675783385634</c:v>
                </c:pt>
                <c:pt idx="54">
                  <c:v>187.94433100255358</c:v>
                </c:pt>
                <c:pt idx="55">
                  <c:v>196.3043754362368</c:v>
                </c:pt>
                <c:pt idx="56">
                  <c:v>204.8913797934176</c:v>
                </c:pt>
                <c:pt idx="57">
                  <c:v>213.71273375527909</c:v>
                </c:pt>
                <c:pt idx="58">
                  <c:v>222.75969859607582</c:v>
                </c:pt>
                <c:pt idx="59">
                  <c:v>232.02143788112912</c:v>
                </c:pt>
                <c:pt idx="60">
                  <c:v>241.49665437330719</c:v>
                </c:pt>
                <c:pt idx="61">
                  <c:v>251.1854316758218</c:v>
                </c:pt>
                <c:pt idx="62">
                  <c:v>261.0721454909775</c:v>
                </c:pt>
                <c:pt idx="63">
                  <c:v>271.1464120292772</c:v>
                </c:pt>
                <c:pt idx="64">
                  <c:v>281.40522134891955</c:v>
                </c:pt>
                <c:pt idx="65">
                  <c:v>291.8310977092101</c:v>
                </c:pt>
                <c:pt idx="66">
                  <c:v>302.4135870781364</c:v>
                </c:pt>
                <c:pt idx="67">
                  <c:v>313.1464836849799</c:v>
                </c:pt>
                <c:pt idx="68">
                  <c:v>324.01060044089729</c:v>
                </c:pt>
                <c:pt idx="69">
                  <c:v>334.99374124323867</c:v>
                </c:pt>
                <c:pt idx="70">
                  <c:v>346.08131520951537</c:v>
                </c:pt>
                <c:pt idx="71">
                  <c:v>357.25810748528727</c:v>
                </c:pt>
                <c:pt idx="72">
                  <c:v>368.50858974234569</c:v>
                </c:pt>
                <c:pt idx="73">
                  <c:v>379.81697504678277</c:v>
                </c:pt>
                <c:pt idx="74">
                  <c:v>391.16719755000463</c:v>
                </c:pt>
                <c:pt idx="75">
                  <c:v>402.54297823411071</c:v>
                </c:pt>
                <c:pt idx="76">
                  <c:v>413.92792190824014</c:v>
                </c:pt>
                <c:pt idx="77">
                  <c:v>425.30561155665839</c:v>
                </c:pt>
                <c:pt idx="78">
                  <c:v>436.65972065533578</c:v>
                </c:pt>
                <c:pt idx="79">
                  <c:v>447.97411106235063</c:v>
                </c:pt>
                <c:pt idx="80">
                  <c:v>459.2329139776341</c:v>
                </c:pt>
                <c:pt idx="81">
                  <c:v>470.4206090196023</c:v>
                </c:pt>
                <c:pt idx="82">
                  <c:v>481.52209653899229</c:v>
                </c:pt>
                <c:pt idx="83">
                  <c:v>492.52276442204965</c:v>
                </c:pt>
                <c:pt idx="84">
                  <c:v>503.40855766538573</c:v>
                </c:pt>
                <c:pt idx="85">
                  <c:v>514.16604096922447</c:v>
                </c:pt>
                <c:pt idx="86">
                  <c:v>524.78245109035288</c:v>
                </c:pt>
                <c:pt idx="87">
                  <c:v>535.2457454984999</c:v>
                </c:pt>
                <c:pt idx="88">
                  <c:v>545.54464582584046</c:v>
                </c:pt>
                <c:pt idx="89">
                  <c:v>555.66866988219283</c:v>
                </c:pt>
                <c:pt idx="90">
                  <c:v>565.60815457639387</c:v>
                </c:pt>
                <c:pt idx="91">
                  <c:v>575.35427847785468</c:v>
                </c:pt>
                <c:pt idx="92">
                  <c:v>584.8990736513183</c:v>
                </c:pt>
                <c:pt idx="93">
                  <c:v>594.23542919118472</c:v>
                </c:pt>
                <c:pt idx="94">
                  <c:v>603.35709137399294</c:v>
                </c:pt>
                <c:pt idx="95">
                  <c:v>612.258657500459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4</c:v>
                </c:pt>
                <c:pt idx="1">
                  <c:v>34</c:v>
                </c:pt>
                <c:pt idx="2">
                  <c:v>34</c:v>
                </c:pt>
                <c:pt idx="3">
                  <c:v>43</c:v>
                </c:pt>
                <c:pt idx="4">
                  <c:v>43</c:v>
                </c:pt>
                <c:pt idx="5">
                  <c:v>47</c:v>
                </c:pt>
                <c:pt idx="6">
                  <c:v>47</c:v>
                </c:pt>
                <c:pt idx="7">
                  <c:v>47</c:v>
                </c:pt>
                <c:pt idx="8">
                  <c:v>47</c:v>
                </c:pt>
                <c:pt idx="9">
                  <c:v>47</c:v>
                </c:pt>
                <c:pt idx="10">
                  <c:v>55</c:v>
                </c:pt>
                <c:pt idx="11">
                  <c:v>58</c:v>
                </c:pt>
                <c:pt idx="12">
                  <c:v>59</c:v>
                </c:pt>
                <c:pt idx="13">
                  <c:v>64</c:v>
                </c:pt>
                <c:pt idx="14">
                  <c:v>68</c:v>
                </c:pt>
                <c:pt idx="15">
                  <c:v>68</c:v>
                </c:pt>
                <c:pt idx="16">
                  <c:v>68</c:v>
                </c:pt>
                <c:pt idx="17">
                  <c:v>70</c:v>
                </c:pt>
                <c:pt idx="18">
                  <c:v>71</c:v>
                </c:pt>
                <c:pt idx="19">
                  <c:v>78</c:v>
                </c:pt>
                <c:pt idx="20">
                  <c:v>88</c:v>
                </c:pt>
                <c:pt idx="21">
                  <c:v>100</c:v>
                </c:pt>
                <c:pt idx="22">
                  <c:v>102</c:v>
                </c:pt>
                <c:pt idx="23">
                  <c:v>108</c:v>
                </c:pt>
                <c:pt idx="24">
                  <c:v>119</c:v>
                </c:pt>
                <c:pt idx="25">
                  <c:v>134</c:v>
                </c:pt>
                <c:pt idx="26">
                  <c:v>143</c:v>
                </c:pt>
                <c:pt idx="27">
                  <c:v>149</c:v>
                </c:pt>
                <c:pt idx="28">
                  <c:v>162</c:v>
                </c:pt>
                <c:pt idx="29">
                  <c:v>172</c:v>
                </c:pt>
                <c:pt idx="30">
                  <c:v>188</c:v>
                </c:pt>
                <c:pt idx="31">
                  <c:v>218</c:v>
                </c:pt>
                <c:pt idx="32">
                  <c:v>237</c:v>
                </c:pt>
                <c:pt idx="33">
                  <c:v>255</c:v>
                </c:pt>
                <c:pt idx="34">
                  <c:v>273</c:v>
                </c:pt>
                <c:pt idx="35">
                  <c:v>293</c:v>
                </c:pt>
                <c:pt idx="36">
                  <c:v>303</c:v>
                </c:pt>
                <c:pt idx="37">
                  <c:v>319</c:v>
                </c:pt>
                <c:pt idx="38">
                  <c:v>353</c:v>
                </c:pt>
                <c:pt idx="39">
                  <c:v>370</c:v>
                </c:pt>
                <c:pt idx="40">
                  <c:v>401</c:v>
                </c:pt>
                <c:pt idx="41">
                  <c:v>442</c:v>
                </c:pt>
                <c:pt idx="42">
                  <c:v>465</c:v>
                </c:pt>
                <c:pt idx="43">
                  <c:v>489</c:v>
                </c:pt>
                <c:pt idx="44">
                  <c:v>504</c:v>
                </c:pt>
                <c:pt idx="45">
                  <c:v>560</c:v>
                </c:pt>
                <c:pt idx="46">
                  <c:v>5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61.50532191728513</c:v>
                </c:pt>
                <c:pt idx="43">
                  <c:v>483.47312266076653</c:v>
                </c:pt>
                <c:pt idx="44">
                  <c:v>505.92678907746006</c:v>
                </c:pt>
                <c:pt idx="45">
                  <c:v>528.96226862180981</c:v>
                </c:pt>
                <c:pt idx="46">
                  <c:v>552.60598497152614</c:v>
                </c:pt>
                <c:pt idx="47">
                  <c:v>576.71842923342558</c:v>
                </c:pt>
                <c:pt idx="48">
                  <c:v>601.29120794083633</c:v>
                </c:pt>
                <c:pt idx="49">
                  <c:v>626.21918988730431</c:v>
                </c:pt>
                <c:pt idx="50">
                  <c:v>651.46702065170223</c:v>
                </c:pt>
                <c:pt idx="51">
                  <c:v>677.08844122038113</c:v>
                </c:pt>
                <c:pt idx="52">
                  <c:v>702.99209214867551</c:v>
                </c:pt>
                <c:pt idx="53">
                  <c:v>729.17093342501266</c:v>
                </c:pt>
                <c:pt idx="54">
                  <c:v>755.6878902933538</c:v>
                </c:pt>
                <c:pt idx="55">
                  <c:v>782.44741626203347</c:v>
                </c:pt>
                <c:pt idx="56">
                  <c:v>809.41657169769587</c:v>
                </c:pt>
                <c:pt idx="57">
                  <c:v>836.61969088910064</c:v>
                </c:pt>
                <c:pt idx="58">
                  <c:v>864.01498353420016</c:v>
                </c:pt>
                <c:pt idx="59">
                  <c:v>891.5600791351369</c:v>
                </c:pt>
                <c:pt idx="60">
                  <c:v>919.25584716503568</c:v>
                </c:pt>
                <c:pt idx="61">
                  <c:v>947.10286974830365</c:v>
                </c:pt>
                <c:pt idx="62">
                  <c:v>975.05017682197388</c:v>
                </c:pt>
                <c:pt idx="63">
                  <c:v>1003.0685842308968</c:v>
                </c:pt>
                <c:pt idx="64">
                  <c:v>1031.1614353868899</c:v>
                </c:pt>
                <c:pt idx="65">
                  <c:v>1059.276005620708</c:v>
                </c:pt>
                <c:pt idx="66">
                  <c:v>1087.3939074620657</c:v>
                </c:pt>
                <c:pt idx="67">
                  <c:v>1115.5212914398635</c:v>
                </c:pt>
                <c:pt idx="68">
                  <c:v>1143.6045755755968</c:v>
                </c:pt>
                <c:pt idx="69">
                  <c:v>1171.6283147208428</c:v>
                </c:pt>
                <c:pt idx="70">
                  <c:v>1199.5687421616512</c:v>
                </c:pt>
                <c:pt idx="71">
                  <c:v>1227.4021951657128</c:v>
                </c:pt>
                <c:pt idx="72">
                  <c:v>1255.1056854576359</c:v>
                </c:pt>
                <c:pt idx="73">
                  <c:v>1282.6568992143668</c:v>
                </c:pt>
                <c:pt idx="74">
                  <c:v>1310.0340204929348</c:v>
                </c:pt>
                <c:pt idx="75">
                  <c:v>1337.2157401859961</c:v>
                </c:pt>
                <c:pt idx="76">
                  <c:v>1364.181327722134</c:v>
                </c:pt>
                <c:pt idx="77">
                  <c:v>1390.910694779267</c:v>
                </c:pt>
                <c:pt idx="78">
                  <c:v>1417.384498388175</c:v>
                </c:pt>
                <c:pt idx="79">
                  <c:v>1443.5842060345312</c:v>
                </c:pt>
                <c:pt idx="80">
                  <c:v>1469.4921246157662</c:v>
                </c:pt>
                <c:pt idx="81">
                  <c:v>1495.0914290003814</c:v>
                </c:pt>
                <c:pt idx="82">
                  <c:v>1520.3661799664412</c:v>
                </c:pt>
                <c:pt idx="83">
                  <c:v>1545.301335160465</c:v>
                </c:pt>
                <c:pt idx="84">
                  <c:v>1569.882774770412</c:v>
                </c:pt>
                <c:pt idx="85">
                  <c:v>1594.0973208422947</c:v>
                </c:pt>
                <c:pt idx="86">
                  <c:v>1617.9327439656454</c:v>
                </c:pt>
                <c:pt idx="87">
                  <c:v>1641.3777726009785</c:v>
                </c:pt>
                <c:pt idx="88">
                  <c:v>1664.4221016505123</c:v>
                </c:pt>
                <c:pt idx="89">
                  <c:v>1687.0563877001089</c:v>
                </c:pt>
                <c:pt idx="90">
                  <c:v>1709.2722372907972</c:v>
                </c:pt>
                <c:pt idx="91">
                  <c:v>1731.0622052914334</c:v>
                </c:pt>
                <c:pt idx="92">
                  <c:v>1752.4197825886076</c:v>
                </c:pt>
                <c:pt idx="93">
                  <c:v>1773.3393771719786</c:v>
                </c:pt>
                <c:pt idx="94">
                  <c:v>1793.8162989213063</c:v>
                </c:pt>
                <c:pt idx="95">
                  <c:v>1813.84674020719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61.95772935824078</c:v>
                </c:pt>
                <c:pt idx="43">
                  <c:v>484.55911463118224</c:v>
                </c:pt>
                <c:pt idx="44">
                  <c:v>507.8487881393217</c:v>
                </c:pt>
                <c:pt idx="45">
                  <c:v>531.9431571655075</c:v>
                </c:pt>
                <c:pt idx="46">
                  <c:v>556.88837203457774</c:v>
                </c:pt>
                <c:pt idx="47">
                  <c:v>582.56347764349755</c:v>
                </c:pt>
                <c:pt idx="48">
                  <c:v>608.97588689998202</c:v>
                </c:pt>
                <c:pt idx="49">
                  <c:v>636.03438651370209</c:v>
                </c:pt>
                <c:pt idx="50">
                  <c:v>663.71543352042613</c:v>
                </c:pt>
                <c:pt idx="51">
                  <c:v>692.08284679245094</c:v>
                </c:pt>
                <c:pt idx="52">
                  <c:v>721.05424268445245</c:v>
                </c:pt>
                <c:pt idx="53">
                  <c:v>750.62977941102315</c:v>
                </c:pt>
                <c:pt idx="54">
                  <c:v>780.87813475770395</c:v>
                </c:pt>
                <c:pt idx="55">
                  <c:v>811.70806365082831</c:v>
                </c:pt>
                <c:pt idx="56">
                  <c:v>843.08939805838224</c:v>
                </c:pt>
                <c:pt idx="57">
                  <c:v>875.04769419064678</c:v>
                </c:pt>
                <c:pt idx="58">
                  <c:v>907.54111087736305</c:v>
                </c:pt>
                <c:pt idx="59">
                  <c:v>940.52588477132213</c:v>
                </c:pt>
                <c:pt idx="60">
                  <c:v>973.99988168198399</c:v>
                </c:pt>
                <c:pt idx="61">
                  <c:v>1007.9591208269517</c:v>
                </c:pt>
                <c:pt idx="62">
                  <c:v>1042.3467262951037</c:v>
                </c:pt>
                <c:pt idx="63">
                  <c:v>1077.1260301904483</c:v>
                </c:pt>
                <c:pt idx="64">
                  <c:v>1112.2913720789516</c:v>
                </c:pt>
                <c:pt idx="65">
                  <c:v>1147.780174363636</c:v>
                </c:pt>
                <c:pt idx="66">
                  <c:v>1183.5631395068967</c:v>
                </c:pt>
                <c:pt idx="67">
                  <c:v>1219.6340496903167</c:v>
                </c:pt>
                <c:pt idx="68">
                  <c:v>1255.925781942183</c:v>
                </c:pt>
                <c:pt idx="69">
                  <c:v>1292.4081293212625</c:v>
                </c:pt>
                <c:pt idx="70">
                  <c:v>1329.0415182685965</c:v>
                </c:pt>
                <c:pt idx="71">
                  <c:v>1365.7855301858051</c:v>
                </c:pt>
                <c:pt idx="72">
                  <c:v>1402.5997754448122</c:v>
                </c:pt>
                <c:pt idx="73">
                  <c:v>1439.4439697626512</c:v>
                </c:pt>
                <c:pt idx="74">
                  <c:v>1476.2777665849615</c:v>
                </c:pt>
                <c:pt idx="75">
                  <c:v>1513.0608554957921</c:v>
                </c:pt>
                <c:pt idx="76">
                  <c:v>1549.7531503707432</c:v>
                </c:pt>
                <c:pt idx="77">
                  <c:v>1586.3149663027475</c:v>
                </c:pt>
                <c:pt idx="78">
                  <c:v>1622.7072541047578</c:v>
                </c:pt>
                <c:pt idx="79">
                  <c:v>1658.8917819179871</c:v>
                </c:pt>
                <c:pt idx="80">
                  <c:v>1694.8312651459355</c:v>
                </c:pt>
                <c:pt idx="81">
                  <c:v>1730.4894933841513</c:v>
                </c:pt>
                <c:pt idx="82">
                  <c:v>1765.8314409855013</c:v>
                </c:pt>
                <c:pt idx="83">
                  <c:v>1800.8233653521561</c:v>
                </c:pt>
                <c:pt idx="84">
                  <c:v>1835.432920377953</c:v>
                </c:pt>
                <c:pt idx="85">
                  <c:v>1869.6292570145665</c:v>
                </c:pt>
                <c:pt idx="86">
                  <c:v>1903.3831015046189</c:v>
                </c:pt>
                <c:pt idx="87">
                  <c:v>1936.6668313110272</c:v>
                </c:pt>
                <c:pt idx="88">
                  <c:v>1969.4545443373577</c:v>
                </c:pt>
                <c:pt idx="89">
                  <c:v>2001.7221038166715</c:v>
                </c:pt>
                <c:pt idx="90">
                  <c:v>2033.4471670841294</c:v>
                </c:pt>
                <c:pt idx="91">
                  <c:v>2064.6092220115897</c:v>
                </c:pt>
                <c:pt idx="92">
                  <c:v>2095.1896023410136</c:v>
                </c:pt>
                <c:pt idx="93">
                  <c:v>2125.1714876851156</c:v>
                </c:pt>
                <c:pt idx="94">
                  <c:v>2154.5399024699755</c:v>
                </c:pt>
                <c:pt idx="95">
                  <c:v>2183.28170345048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62.41300211597161</c:v>
                </c:pt>
                <c:pt idx="43">
                  <c:v>485.65547009251446</c:v>
                </c:pt>
                <c:pt idx="44">
                  <c:v>509.79637357416129</c:v>
                </c:pt>
                <c:pt idx="45">
                  <c:v>534.97627472347676</c:v>
                </c:pt>
                <c:pt idx="46">
                  <c:v>561.26527619634123</c:v>
                </c:pt>
                <c:pt idx="47">
                  <c:v>588.56567790423355</c:v>
                </c:pt>
                <c:pt idx="48">
                  <c:v>616.90582356569939</c:v>
                </c:pt>
                <c:pt idx="49">
                  <c:v>646.21390214732116</c:v>
                </c:pt>
                <c:pt idx="50">
                  <c:v>676.48393287193812</c:v>
                </c:pt>
                <c:pt idx="51">
                  <c:v>707.79575326388976</c:v>
                </c:pt>
                <c:pt idx="52">
                  <c:v>740.08198986345496</c:v>
                </c:pt>
                <c:pt idx="53">
                  <c:v>773.35600655355722</c:v>
                </c:pt>
                <c:pt idx="54">
                  <c:v>807.69812130571847</c:v>
                </c:pt>
                <c:pt idx="55">
                  <c:v>843.02705215156334</c:v>
                </c:pt>
                <c:pt idx="56">
                  <c:v>879.32077583739169</c:v>
                </c:pt>
                <c:pt idx="57">
                  <c:v>916.61102578783471</c:v>
                </c:pt>
                <c:pt idx="58">
                  <c:v>954.86039487179028</c:v>
                </c:pt>
                <c:pt idx="59">
                  <c:v>994.02765403185606</c:v>
                </c:pt>
                <c:pt idx="60">
                  <c:v>1034.1108902152091</c:v>
                </c:pt>
                <c:pt idx="61">
                  <c:v>1075.1040103000209</c:v>
                </c:pt>
                <c:pt idx="62">
                  <c:v>1116.9458277870272</c:v>
                </c:pt>
                <c:pt idx="63">
                  <c:v>1159.5928917983083</c:v>
                </c:pt>
                <c:pt idx="64">
                  <c:v>1203.0302891595691</c:v>
                </c:pt>
                <c:pt idx="65">
                  <c:v>1247.184450830774</c:v>
                </c:pt>
                <c:pt idx="66">
                  <c:v>1292.0131197231262</c:v>
                </c:pt>
                <c:pt idx="67">
                  <c:v>1337.4946267319297</c:v>
                </c:pt>
                <c:pt idx="68">
                  <c:v>1383.5442216840509</c:v>
                </c:pt>
                <c:pt idx="69">
                  <c:v>1430.111867698334</c:v>
                </c:pt>
                <c:pt idx="70">
                  <c:v>1477.1361836508347</c:v>
                </c:pt>
                <c:pt idx="71">
                  <c:v>1524.5531093948459</c:v>
                </c:pt>
                <c:pt idx="72">
                  <c:v>1572.2971915015066</c:v>
                </c:pt>
                <c:pt idx="73">
                  <c:v>1620.3018039028575</c:v>
                </c:pt>
                <c:pt idx="74">
                  <c:v>1668.4990526762517</c:v>
                </c:pt>
                <c:pt idx="75">
                  <c:v>1716.8200549062724</c:v>
                </c:pt>
                <c:pt idx="76">
                  <c:v>1765.1953477659144</c:v>
                </c:pt>
                <c:pt idx="77">
                  <c:v>1813.5552877013761</c:v>
                </c:pt>
                <c:pt idx="78">
                  <c:v>1861.8305337218378</c:v>
                </c:pt>
                <c:pt idx="79">
                  <c:v>1909.9524613547035</c:v>
                </c:pt>
                <c:pt idx="80">
                  <c:v>1957.8535069494949</c:v>
                </c:pt>
                <c:pt idx="81">
                  <c:v>2005.4675047873031</c:v>
                </c:pt>
                <c:pt idx="82">
                  <c:v>2052.7299981837332</c:v>
                </c:pt>
                <c:pt idx="83">
                  <c:v>2099.578527805194</c:v>
                </c:pt>
                <c:pt idx="84">
                  <c:v>2145.9529301491116</c:v>
                </c:pt>
                <c:pt idx="85">
                  <c:v>2191.7956085652668</c:v>
                </c:pt>
                <c:pt idx="86">
                  <c:v>2237.0517625312859</c:v>
                </c:pt>
                <c:pt idx="87">
                  <c:v>2281.6696001261885</c:v>
                </c:pt>
                <c:pt idx="88">
                  <c:v>2325.6005275831467</c:v>
                </c:pt>
                <c:pt idx="89">
                  <c:v>2368.7992916893991</c:v>
                </c:pt>
                <c:pt idx="90">
                  <c:v>2411.2240853190378</c:v>
                </c:pt>
                <c:pt idx="91">
                  <c:v>2452.8366481611301</c:v>
                </c:pt>
                <c:pt idx="92">
                  <c:v>2493.602324269229</c:v>
                </c:pt>
                <c:pt idx="93">
                  <c:v>2533.4900846705109</c:v>
                </c:pt>
                <c:pt idx="94">
                  <c:v>2572.4725346716677</c:v>
                </c:pt>
                <c:pt idx="95">
                  <c:v>2610.52589306825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4</c:v>
                </c:pt>
                <c:pt idx="1">
                  <c:v>14</c:v>
                </c:pt>
                <c:pt idx="2">
                  <c:v>16</c:v>
                </c:pt>
                <c:pt idx="3">
                  <c:v>17</c:v>
                </c:pt>
                <c:pt idx="4">
                  <c:v>18</c:v>
                </c:pt>
                <c:pt idx="5">
                  <c:v>20</c:v>
                </c:pt>
                <c:pt idx="6">
                  <c:v>20</c:v>
                </c:pt>
                <c:pt idx="7">
                  <c:v>20</c:v>
                </c:pt>
                <c:pt idx="8">
                  <c:v>21</c:v>
                </c:pt>
                <c:pt idx="9">
                  <c:v>21</c:v>
                </c:pt>
                <c:pt idx="10">
                  <c:v>22</c:v>
                </c:pt>
                <c:pt idx="11">
                  <c:v>22</c:v>
                </c:pt>
                <c:pt idx="12">
                  <c:v>24</c:v>
                </c:pt>
                <c:pt idx="13">
                  <c:v>26</c:v>
                </c:pt>
                <c:pt idx="14">
                  <c:v>26</c:v>
                </c:pt>
                <c:pt idx="15">
                  <c:v>26</c:v>
                </c:pt>
                <c:pt idx="16">
                  <c:v>27</c:v>
                </c:pt>
                <c:pt idx="17">
                  <c:v>36</c:v>
                </c:pt>
                <c:pt idx="18">
                  <c:v>39</c:v>
                </c:pt>
                <c:pt idx="19">
                  <c:v>42</c:v>
                </c:pt>
                <c:pt idx="20">
                  <c:v>43</c:v>
                </c:pt>
                <c:pt idx="21">
                  <c:v>45</c:v>
                </c:pt>
                <c:pt idx="22">
                  <c:v>49</c:v>
                </c:pt>
                <c:pt idx="23">
                  <c:v>52</c:v>
                </c:pt>
                <c:pt idx="24">
                  <c:v>53</c:v>
                </c:pt>
                <c:pt idx="25">
                  <c:v>56</c:v>
                </c:pt>
                <c:pt idx="26">
                  <c:v>60</c:v>
                </c:pt>
                <c:pt idx="27">
                  <c:v>61</c:v>
                </c:pt>
                <c:pt idx="28">
                  <c:v>63</c:v>
                </c:pt>
                <c:pt idx="29">
                  <c:v>66</c:v>
                </c:pt>
                <c:pt idx="30">
                  <c:v>68</c:v>
                </c:pt>
                <c:pt idx="31">
                  <c:v>69</c:v>
                </c:pt>
                <c:pt idx="32">
                  <c:v>77</c:v>
                </c:pt>
                <c:pt idx="33">
                  <c:v>83</c:v>
                </c:pt>
                <c:pt idx="34">
                  <c:v>93</c:v>
                </c:pt>
                <c:pt idx="35">
                  <c:v>99</c:v>
                </c:pt>
                <c:pt idx="36">
                  <c:v>109</c:v>
                </c:pt>
                <c:pt idx="37">
                  <c:v>111</c:v>
                </c:pt>
                <c:pt idx="38">
                  <c:v>123</c:v>
                </c:pt>
                <c:pt idx="39">
                  <c:v>129</c:v>
                </c:pt>
                <c:pt idx="40">
                  <c:v>139</c:v>
                </c:pt>
                <c:pt idx="41">
                  <c:v>147</c:v>
                </c:pt>
                <c:pt idx="42">
                  <c:v>161</c:v>
                </c:pt>
                <c:pt idx="43">
                  <c:v>173</c:v>
                </c:pt>
                <c:pt idx="44">
                  <c:v>181</c:v>
                </c:pt>
                <c:pt idx="45">
                  <c:v>194</c:v>
                </c:pt>
                <c:pt idx="46">
                  <c:v>1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53.92868112885512</c:v>
                </c:pt>
                <c:pt idx="43">
                  <c:v>160.99563812876733</c:v>
                </c:pt>
                <c:pt idx="44">
                  <c:v>168.19941560233175</c:v>
                </c:pt>
                <c:pt idx="45">
                  <c:v>175.57030273417735</c:v>
                </c:pt>
                <c:pt idx="46">
                  <c:v>183.11652756050154</c:v>
                </c:pt>
                <c:pt idx="47">
                  <c:v>190.80275333506256</c:v>
                </c:pt>
                <c:pt idx="48">
                  <c:v>198.631608071931</c:v>
                </c:pt>
                <c:pt idx="49">
                  <c:v>206.57824589504585</c:v>
                </c:pt>
                <c:pt idx="50">
                  <c:v>214.62411306849597</c:v>
                </c:pt>
                <c:pt idx="51">
                  <c:v>222.78603183975002</c:v>
                </c:pt>
                <c:pt idx="52">
                  <c:v>231.04236871061534</c:v>
                </c:pt>
                <c:pt idx="53">
                  <c:v>239.38753249549325</c:v>
                </c:pt>
                <c:pt idx="54">
                  <c:v>247.84494262975926</c:v>
                </c:pt>
                <c:pt idx="55">
                  <c:v>256.38361396221444</c:v>
                </c:pt>
                <c:pt idx="56">
                  <c:v>264.99351433161735</c:v>
                </c:pt>
                <c:pt idx="57">
                  <c:v>273.68200408839306</c:v>
                </c:pt>
                <c:pt idx="58">
                  <c:v>282.43450072093248</c:v>
                </c:pt>
                <c:pt idx="59">
                  <c:v>291.241384661285</c:v>
                </c:pt>
                <c:pt idx="60">
                  <c:v>300.10574115316558</c:v>
                </c:pt>
                <c:pt idx="61">
                  <c:v>309.02037213678022</c:v>
                </c:pt>
                <c:pt idx="62">
                  <c:v>317.97332911758838</c:v>
                </c:pt>
                <c:pt idx="63">
                  <c:v>326.95506508974017</c:v>
                </c:pt>
                <c:pt idx="64">
                  <c:v>335.9636630553465</c:v>
                </c:pt>
                <c:pt idx="65">
                  <c:v>344.9820249314439</c:v>
                </c:pt>
                <c:pt idx="66">
                  <c:v>354.00563239013206</c:v>
                </c:pt>
                <c:pt idx="67">
                  <c:v>363.04048038954278</c:v>
                </c:pt>
                <c:pt idx="68">
                  <c:v>372.06527201592741</c:v>
                </c:pt>
                <c:pt idx="69">
                  <c:v>381.07614817130985</c:v>
                </c:pt>
                <c:pt idx="70">
                  <c:v>390.06542688888442</c:v>
                </c:pt>
                <c:pt idx="71">
                  <c:v>399.02546368221306</c:v>
                </c:pt>
                <c:pt idx="72">
                  <c:v>407.94882106018338</c:v>
                </c:pt>
                <c:pt idx="73">
                  <c:v>416.82826419697295</c:v>
                </c:pt>
                <c:pt idx="74">
                  <c:v>425.65670104596416</c:v>
                </c:pt>
                <c:pt idx="75">
                  <c:v>434.42718698011697</c:v>
                </c:pt>
                <c:pt idx="76">
                  <c:v>443.13294805981639</c:v>
                </c:pt>
                <c:pt idx="77">
                  <c:v>451.76740199962637</c:v>
                </c:pt>
                <c:pt idx="78">
                  <c:v>460.3241954964584</c:v>
                </c:pt>
                <c:pt idx="79">
                  <c:v>468.79722488750843</c:v>
                </c:pt>
                <c:pt idx="80">
                  <c:v>477.18064599389152</c:v>
                </c:pt>
                <c:pt idx="81">
                  <c:v>485.46888361437504</c:v>
                </c:pt>
                <c:pt idx="82">
                  <c:v>493.65663870389358</c:v>
                </c:pt>
                <c:pt idx="83">
                  <c:v>501.7388934286526</c:v>
                </c:pt>
                <c:pt idx="84">
                  <c:v>509.7109195559355</c:v>
                </c:pt>
                <c:pt idx="85">
                  <c:v>517.56828583461925</c:v>
                </c:pt>
                <c:pt idx="86">
                  <c:v>525.30686188311984</c:v>
                </c:pt>
                <c:pt idx="87">
                  <c:v>532.92282211221914</c:v>
                </c:pt>
                <c:pt idx="88">
                  <c:v>540.41264871813132</c:v>
                </c:pt>
                <c:pt idx="89">
                  <c:v>547.77313098298896</c:v>
                </c:pt>
                <c:pt idx="90">
                  <c:v>555.00136324791868</c:v>
                </c:pt>
                <c:pt idx="91">
                  <c:v>562.09474426350607</c:v>
                </c:pt>
                <c:pt idx="92">
                  <c:v>569.05097440220925</c:v>
                </c:pt>
                <c:pt idx="93">
                  <c:v>575.86805092622296</c:v>
                </c:pt>
                <c:pt idx="94">
                  <c:v>582.54426399589693</c:v>
                </c:pt>
                <c:pt idx="95">
                  <c:v>589.078190705917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54.0671331213691</c:v>
                </c:pt>
                <c:pt idx="43">
                  <c:v>161.32796460055363</c:v>
                </c:pt>
                <c:pt idx="44">
                  <c:v>168.78762820097296</c:v>
                </c:pt>
                <c:pt idx="45">
                  <c:v>176.48276894572001</c:v>
                </c:pt>
                <c:pt idx="46">
                  <c:v>184.42775997014863</c:v>
                </c:pt>
                <c:pt idx="47">
                  <c:v>192.59311041512362</c:v>
                </c:pt>
                <c:pt idx="48">
                  <c:v>200.98660884066166</c:v>
                </c:pt>
                <c:pt idx="49">
                  <c:v>209.5880527089281</c:v>
                </c:pt>
                <c:pt idx="50">
                  <c:v>218.38296348261451</c:v>
                </c:pt>
                <c:pt idx="51">
                  <c:v>227.3917221436318</c:v>
                </c:pt>
                <c:pt idx="52">
                  <c:v>236.59588531243796</c:v>
                </c:pt>
                <c:pt idx="53">
                  <c:v>245.99254189615215</c:v>
                </c:pt>
                <c:pt idx="54">
                  <c:v>255.60731022908232</c:v>
                </c:pt>
                <c:pt idx="55">
                  <c:v>265.4109643824213</c:v>
                </c:pt>
                <c:pt idx="56">
                  <c:v>275.39475081583242</c:v>
                </c:pt>
                <c:pt idx="57">
                  <c:v>285.56680322902133</c:v>
                </c:pt>
                <c:pt idx="58">
                  <c:v>295.91288743475764</c:v>
                </c:pt>
                <c:pt idx="59">
                  <c:v>306.423296911715</c:v>
                </c:pt>
                <c:pt idx="60">
                  <c:v>317.10050729225793</c:v>
                </c:pt>
                <c:pt idx="61">
                  <c:v>327.93620024088307</c:v>
                </c:pt>
                <c:pt idx="62">
                  <c:v>338.91683284853218</c:v>
                </c:pt>
                <c:pt idx="63">
                  <c:v>350.03076387354702</c:v>
                </c:pt>
                <c:pt idx="64">
                  <c:v>361.27350073274204</c:v>
                </c:pt>
                <c:pt idx="65">
                  <c:v>372.62506288412317</c:v>
                </c:pt>
                <c:pt idx="66">
                  <c:v>384.07770459269938</c:v>
                </c:pt>
                <c:pt idx="67">
                  <c:v>395.63371080653519</c:v>
                </c:pt>
                <c:pt idx="68">
                  <c:v>407.26769026193512</c:v>
                </c:pt>
                <c:pt idx="69">
                  <c:v>418.97127088288948</c:v>
                </c:pt>
                <c:pt idx="70">
                  <c:v>430.73190051886172</c:v>
                </c:pt>
                <c:pt idx="71">
                  <c:v>442.53674639195003</c:v>
                </c:pt>
                <c:pt idx="72">
                  <c:v>454.37295488756695</c:v>
                </c:pt>
                <c:pt idx="73">
                  <c:v>466.22766924049893</c:v>
                </c:pt>
                <c:pt idx="74">
                  <c:v>478.08797084931149</c:v>
                </c:pt>
                <c:pt idx="75">
                  <c:v>489.94091266730049</c:v>
                </c:pt>
                <c:pt idx="76">
                  <c:v>501.77357934974049</c:v>
                </c:pt>
                <c:pt idx="77">
                  <c:v>513.57314440127141</c:v>
                </c:pt>
                <c:pt idx="78">
                  <c:v>525.32695131896571</c:v>
                </c:pt>
                <c:pt idx="79">
                  <c:v>537.0225713874695</c:v>
                </c:pt>
                <c:pt idx="80">
                  <c:v>548.64784617848295</c:v>
                </c:pt>
                <c:pt idx="81">
                  <c:v>560.19092916140039</c:v>
                </c:pt>
                <c:pt idx="82">
                  <c:v>571.64032372593442</c:v>
                </c:pt>
                <c:pt idx="83">
                  <c:v>582.98491745767569</c:v>
                </c:pt>
                <c:pt idx="84">
                  <c:v>594.21401963842777</c:v>
                </c:pt>
                <c:pt idx="85">
                  <c:v>605.31739604526319</c:v>
                </c:pt>
                <c:pt idx="86">
                  <c:v>616.28529755628006</c:v>
                </c:pt>
                <c:pt idx="87">
                  <c:v>627.10848696915878</c:v>
                </c:pt>
                <c:pt idx="88">
                  <c:v>637.77826283848253</c:v>
                </c:pt>
                <c:pt idx="89">
                  <c:v>648.2864763932854</c:v>
                </c:pt>
                <c:pt idx="90">
                  <c:v>658.62554453560051</c:v>
                </c:pt>
                <c:pt idx="91">
                  <c:v>668.78846276564286</c:v>
                </c:pt>
                <c:pt idx="92">
                  <c:v>678.76881311465229</c:v>
                </c:pt>
                <c:pt idx="93">
                  <c:v>688.56076740334765</c:v>
                </c:pt>
                <c:pt idx="94">
                  <c:v>698.15908951919391</c:v>
                </c:pt>
                <c:pt idx="95">
                  <c:v>707.559133128696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54.20647435581998</c:v>
                </c:pt>
                <c:pt idx="43">
                  <c:v>161.66349373038014</c:v>
                </c:pt>
                <c:pt idx="44">
                  <c:v>169.38372862714115</c:v>
                </c:pt>
                <c:pt idx="45">
                  <c:v>177.41131540615555</c:v>
                </c:pt>
                <c:pt idx="46">
                  <c:v>185.76807585991639</c:v>
                </c:pt>
                <c:pt idx="47">
                  <c:v>194.43182130013642</c:v>
                </c:pt>
                <c:pt idx="48">
                  <c:v>203.41709480842016</c:v>
                </c:pt>
                <c:pt idx="49">
                  <c:v>212.71005078333073</c:v>
                </c:pt>
                <c:pt idx="50">
                  <c:v>222.3020935692212</c:v>
                </c:pt>
                <c:pt idx="51">
                  <c:v>232.21904283263916</c:v>
                </c:pt>
                <c:pt idx="52">
                  <c:v>242.4475694702744</c:v>
                </c:pt>
                <c:pt idx="53">
                  <c:v>252.98937483526618</c:v>
                </c:pt>
                <c:pt idx="54">
                  <c:v>263.87418783672888</c:v>
                </c:pt>
                <c:pt idx="55">
                  <c:v>275.07640029769686</c:v>
                </c:pt>
                <c:pt idx="56">
                  <c:v>286.59032125986823</c:v>
                </c:pt>
                <c:pt idx="57">
                  <c:v>298.42652799525098</c:v>
                </c:pt>
                <c:pt idx="58">
                  <c:v>310.57267198803066</c:v>
                </c:pt>
                <c:pt idx="59">
                  <c:v>323.02033508522061</c:v>
                </c:pt>
                <c:pt idx="60">
                  <c:v>335.77255001023127</c:v>
                </c:pt>
                <c:pt idx="61">
                  <c:v>348.82081125367949</c:v>
                </c:pt>
                <c:pt idx="62">
                  <c:v>362.15065364018449</c:v>
                </c:pt>
                <c:pt idx="63">
                  <c:v>375.74873835435096</c:v>
                </c:pt>
                <c:pt idx="64">
                  <c:v>389.60810006415272</c:v>
                </c:pt>
                <c:pt idx="65">
                  <c:v>403.70569897048534</c:v>
                </c:pt>
                <c:pt idx="66">
                  <c:v>418.03009479774801</c:v>
                </c:pt>
                <c:pt idx="67">
                  <c:v>432.57906245974493</c:v>
                </c:pt>
                <c:pt idx="68">
                  <c:v>447.3219898679659</c:v>
                </c:pt>
                <c:pt idx="69">
                  <c:v>462.2445437370572</c:v>
                </c:pt>
                <c:pt idx="70">
                  <c:v>477.32754550556325</c:v>
                </c:pt>
                <c:pt idx="71">
                  <c:v>492.55092414437894</c:v>
                </c:pt>
                <c:pt idx="72">
                  <c:v>507.8940969213894</c:v>
                </c:pt>
                <c:pt idx="73">
                  <c:v>523.33602791707915</c:v>
                </c:pt>
                <c:pt idx="74">
                  <c:v>538.8551882568496</c:v>
                </c:pt>
                <c:pt idx="75">
                  <c:v>554.42964558049857</c:v>
                </c:pt>
                <c:pt idx="76">
                  <c:v>570.03719292066626</c:v>
                </c:pt>
                <c:pt idx="77">
                  <c:v>585.65547576378594</c:v>
                </c:pt>
                <c:pt idx="78">
                  <c:v>601.26215411184467</c:v>
                </c:pt>
                <c:pt idx="79">
                  <c:v>616.83503402375163</c:v>
                </c:pt>
                <c:pt idx="80">
                  <c:v>632.35217900517705</c:v>
                </c:pt>
                <c:pt idx="81">
                  <c:v>647.79201989565013</c:v>
                </c:pt>
                <c:pt idx="82">
                  <c:v>663.13345913270769</c:v>
                </c:pt>
                <c:pt idx="83">
                  <c:v>678.3559683015892</c:v>
                </c:pt>
                <c:pt idx="84">
                  <c:v>693.43968732825897</c:v>
                </c:pt>
                <c:pt idx="85">
                  <c:v>708.36551705088493</c:v>
                </c:pt>
                <c:pt idx="86">
                  <c:v>723.11520011342702</c:v>
                </c:pt>
                <c:pt idx="87">
                  <c:v>737.67139532784574</c:v>
                </c:pt>
                <c:pt idx="88">
                  <c:v>752.01774383350914</c:v>
                </c:pt>
                <c:pt idx="89">
                  <c:v>766.13892149594005</c:v>
                </c:pt>
                <c:pt idx="90">
                  <c:v>780.02068120910212</c:v>
                </c:pt>
                <c:pt idx="91">
                  <c:v>793.64989032538506</c:v>
                </c:pt>
                <c:pt idx="92">
                  <c:v>807.01455658884186</c:v>
                </c:pt>
                <c:pt idx="93">
                  <c:v>820.1038431287426</c:v>
                </c:pt>
                <c:pt idx="94">
                  <c:v>832.90807756897379</c:v>
                </c:pt>
                <c:pt idx="95">
                  <c:v>845.418750771239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0</c:v>
                </c:pt>
                <c:pt idx="1">
                  <c:v>11</c:v>
                </c:pt>
                <c:pt idx="2">
                  <c:v>11</c:v>
                </c:pt>
                <c:pt idx="3">
                  <c:v>11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4</c:v>
                </c:pt>
                <c:pt idx="8">
                  <c:v>16</c:v>
                </c:pt>
                <c:pt idx="9">
                  <c:v>16</c:v>
                </c:pt>
                <c:pt idx="10">
                  <c:v>17</c:v>
                </c:pt>
                <c:pt idx="11">
                  <c:v>17</c:v>
                </c:pt>
                <c:pt idx="12">
                  <c:v>19</c:v>
                </c:pt>
                <c:pt idx="13">
                  <c:v>20</c:v>
                </c:pt>
                <c:pt idx="14">
                  <c:v>20</c:v>
                </c:pt>
                <c:pt idx="15">
                  <c:v>23</c:v>
                </c:pt>
                <c:pt idx="16">
                  <c:v>24</c:v>
                </c:pt>
                <c:pt idx="17">
                  <c:v>26</c:v>
                </c:pt>
                <c:pt idx="18">
                  <c:v>29</c:v>
                </c:pt>
                <c:pt idx="19">
                  <c:v>30</c:v>
                </c:pt>
                <c:pt idx="20">
                  <c:v>30</c:v>
                </c:pt>
                <c:pt idx="21">
                  <c:v>34</c:v>
                </c:pt>
                <c:pt idx="22">
                  <c:v>36</c:v>
                </c:pt>
                <c:pt idx="23">
                  <c:v>37</c:v>
                </c:pt>
                <c:pt idx="24">
                  <c:v>39</c:v>
                </c:pt>
                <c:pt idx="25">
                  <c:v>43</c:v>
                </c:pt>
                <c:pt idx="26">
                  <c:v>45</c:v>
                </c:pt>
                <c:pt idx="27">
                  <c:v>49</c:v>
                </c:pt>
                <c:pt idx="28">
                  <c:v>53</c:v>
                </c:pt>
                <c:pt idx="29">
                  <c:v>59</c:v>
                </c:pt>
                <c:pt idx="30">
                  <c:v>61</c:v>
                </c:pt>
                <c:pt idx="31">
                  <c:v>75</c:v>
                </c:pt>
                <c:pt idx="32">
                  <c:v>83</c:v>
                </c:pt>
                <c:pt idx="33">
                  <c:v>92</c:v>
                </c:pt>
                <c:pt idx="34">
                  <c:v>101</c:v>
                </c:pt>
                <c:pt idx="35">
                  <c:v>107</c:v>
                </c:pt>
                <c:pt idx="36">
                  <c:v>112</c:v>
                </c:pt>
                <c:pt idx="37">
                  <c:v>117</c:v>
                </c:pt>
                <c:pt idx="38">
                  <c:v>140</c:v>
                </c:pt>
                <c:pt idx="39">
                  <c:v>155</c:v>
                </c:pt>
                <c:pt idx="40">
                  <c:v>164</c:v>
                </c:pt>
                <c:pt idx="41">
                  <c:v>179</c:v>
                </c:pt>
                <c:pt idx="42">
                  <c:v>204</c:v>
                </c:pt>
                <c:pt idx="43">
                  <c:v>2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80.05402716080218</c:v>
                </c:pt>
                <c:pt idx="43">
                  <c:v>190.3187456935425</c:v>
                </c:pt>
                <c:pt idx="44">
                  <c:v>200.80046013682428</c:v>
                </c:pt>
                <c:pt idx="45">
                  <c:v>211.5437061233981</c:v>
                </c:pt>
                <c:pt idx="46">
                  <c:v>222.56069019497909</c:v>
                </c:pt>
                <c:pt idx="47">
                  <c:v>233.79113873306693</c:v>
                </c:pt>
                <c:pt idx="48">
                  <c:v>245.23387327898536</c:v>
                </c:pt>
                <c:pt idx="49">
                  <c:v>256.84439098145231</c:v>
                </c:pt>
                <c:pt idx="50">
                  <c:v>268.60247487167533</c:v>
                </c:pt>
                <c:pt idx="51">
                  <c:v>280.53299611446573</c:v>
                </c:pt>
                <c:pt idx="52">
                  <c:v>292.59725975515164</c:v>
                </c:pt>
                <c:pt idx="53">
                  <c:v>304.79026346705098</c:v>
                </c:pt>
                <c:pt idx="54">
                  <c:v>317.14304548230541</c:v>
                </c:pt>
                <c:pt idx="55">
                  <c:v>329.610832750572</c:v>
                </c:pt>
                <c:pt idx="56">
                  <c:v>342.17852444044621</c:v>
                </c:pt>
                <c:pt idx="57">
                  <c:v>354.85725011865719</c:v>
                </c:pt>
                <c:pt idx="58">
                  <c:v>367.62689642762086</c:v>
                </c:pt>
                <c:pt idx="59">
                  <c:v>380.46973044950749</c:v>
                </c:pt>
                <c:pt idx="60">
                  <c:v>393.3876030377636</c:v>
                </c:pt>
                <c:pt idx="61">
                  <c:v>406.37698346474792</c:v>
                </c:pt>
                <c:pt idx="62">
                  <c:v>419.41634584352119</c:v>
                </c:pt>
                <c:pt idx="63">
                  <c:v>432.4919718762917</c:v>
                </c:pt>
                <c:pt idx="64">
                  <c:v>445.60388293179619</c:v>
                </c:pt>
                <c:pt idx="65">
                  <c:v>458.72737235751856</c:v>
                </c:pt>
                <c:pt idx="66">
                  <c:v>471.85456763083681</c:v>
                </c:pt>
                <c:pt idx="67">
                  <c:v>484.99041069712615</c:v>
                </c:pt>
                <c:pt idx="68">
                  <c:v>498.10777432916933</c:v>
                </c:pt>
                <c:pt idx="69">
                  <c:v>511.2000129058037</c:v>
                </c:pt>
                <c:pt idx="70">
                  <c:v>524.25600245043915</c:v>
                </c:pt>
                <c:pt idx="71">
                  <c:v>537.26466964815256</c:v>
                </c:pt>
                <c:pt idx="72">
                  <c:v>550.21525119601142</c:v>
                </c:pt>
                <c:pt idx="73">
                  <c:v>563.09729157214201</c:v>
                </c:pt>
                <c:pt idx="74">
                  <c:v>575.90055894253351</c:v>
                </c:pt>
                <c:pt idx="75">
                  <c:v>588.61505025154952</c:v>
                </c:pt>
                <c:pt idx="76">
                  <c:v>601.23102482883496</c:v>
                </c:pt>
                <c:pt idx="77">
                  <c:v>613.73903440237905</c:v>
                </c:pt>
                <c:pt idx="78">
                  <c:v>626.12997341695734</c:v>
                </c:pt>
                <c:pt idx="79">
                  <c:v>638.39510930701977</c:v>
                </c:pt>
                <c:pt idx="80">
                  <c:v>650.52609629916799</c:v>
                </c:pt>
                <c:pt idx="81">
                  <c:v>662.51498891455913</c:v>
                </c:pt>
                <c:pt idx="82">
                  <c:v>674.35425107574758</c:v>
                </c:pt>
                <c:pt idx="83">
                  <c:v>686.0367620149915</c:v>
                </c:pt>
                <c:pt idx="84">
                  <c:v>697.55582833766778</c:v>
                </c:pt>
                <c:pt idx="85">
                  <c:v>708.90519364879322</c:v>
                </c:pt>
                <c:pt idx="86">
                  <c:v>720.07904257140876</c:v>
                </c:pt>
                <c:pt idx="87">
                  <c:v>731.07200557980218</c:v>
                </c:pt>
                <c:pt idx="88">
                  <c:v>741.87916312574487</c:v>
                </c:pt>
                <c:pt idx="89">
                  <c:v>752.49604384318661</c:v>
                </c:pt>
                <c:pt idx="90">
                  <c:v>762.91861996704745</c:v>
                </c:pt>
                <c:pt idx="91">
                  <c:v>773.14330650793249</c:v>
                </c:pt>
                <c:pt idx="92">
                  <c:v>783.16695610382965</c:v>
                </c:pt>
                <c:pt idx="93">
                  <c:v>792.98685087848446</c:v>
                </c:pt>
                <c:pt idx="94">
                  <c:v>802.60069579759261</c:v>
                </c:pt>
                <c:pt idx="95">
                  <c:v>812.006609746814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80.26177149257217</c:v>
                </c:pt>
                <c:pt idx="43">
                  <c:v>190.81741813638104</c:v>
                </c:pt>
                <c:pt idx="44">
                  <c:v>201.68304530158207</c:v>
                </c:pt>
                <c:pt idx="45">
                  <c:v>212.91263234808645</c:v>
                </c:pt>
                <c:pt idx="46">
                  <c:v>224.52749989257953</c:v>
                </c:pt>
                <c:pt idx="47">
                  <c:v>236.47598056965001</c:v>
                </c:pt>
                <c:pt idx="48">
                  <c:v>248.7643206149514</c:v>
                </c:pt>
                <c:pt idx="49">
                  <c:v>261.35460596360002</c:v>
                </c:pt>
                <c:pt idx="50">
                  <c:v>274.23228054691077</c:v>
                </c:pt>
                <c:pt idx="51">
                  <c:v>287.42708762175926</c:v>
                </c:pt>
                <c:pt idx="52">
                  <c:v>300.90468211313515</c:v>
                </c:pt>
                <c:pt idx="53">
                  <c:v>314.66361280911474</c:v>
                </c:pt>
                <c:pt idx="54">
                  <c:v>328.73778524153147</c:v>
                </c:pt>
                <c:pt idx="55">
                  <c:v>343.08462958154416</c:v>
                </c:pt>
                <c:pt idx="56">
                  <c:v>357.69053933329047</c:v>
                </c:pt>
                <c:pt idx="57">
                  <c:v>372.56741081922002</c:v>
                </c:pt>
                <c:pt idx="58">
                  <c:v>387.69529469242127</c:v>
                </c:pt>
                <c:pt idx="59">
                  <c:v>403.05599315198185</c:v>
                </c:pt>
                <c:pt idx="60">
                  <c:v>418.65013719679558</c:v>
                </c:pt>
                <c:pt idx="61">
                  <c:v>434.47224300362444</c:v>
                </c:pt>
                <c:pt idx="62">
                  <c:v>450.49818239685885</c:v>
                </c:pt>
                <c:pt idx="63">
                  <c:v>466.71090150706254</c:v>
                </c:pt>
                <c:pt idx="64">
                  <c:v>483.10637978944135</c:v>
                </c:pt>
                <c:pt idx="65">
                  <c:v>499.65545456790733</c:v>
                </c:pt>
                <c:pt idx="66">
                  <c:v>516.34530082736137</c:v>
                </c:pt>
                <c:pt idx="67">
                  <c:v>533.17521968101573</c:v>
                </c:pt>
                <c:pt idx="68">
                  <c:v>550.11189147864218</c:v>
                </c:pt>
                <c:pt idx="69">
                  <c:v>567.14189440599785</c:v>
                </c:pt>
                <c:pt idx="70">
                  <c:v>584.24682915879623</c:v>
                </c:pt>
                <c:pt idx="71">
                  <c:v>601.40789705634688</c:v>
                </c:pt>
                <c:pt idx="72">
                  <c:v>618.60629742708034</c:v>
                </c:pt>
                <c:pt idx="73">
                  <c:v>635.82325975129243</c:v>
                </c:pt>
                <c:pt idx="74">
                  <c:v>653.03996288731548</c:v>
                </c:pt>
                <c:pt idx="75">
                  <c:v>670.23758194695483</c:v>
                </c:pt>
                <c:pt idx="76">
                  <c:v>687.3973760161781</c:v>
                </c:pt>
                <c:pt idx="77">
                  <c:v>704.50077094477501</c:v>
                </c:pt>
                <c:pt idx="78">
                  <c:v>721.52947185779783</c:v>
                </c:pt>
                <c:pt idx="79">
                  <c:v>738.46554769107217</c:v>
                </c:pt>
                <c:pt idx="80">
                  <c:v>755.2914922649685</c:v>
                </c:pt>
                <c:pt idx="81">
                  <c:v>771.99028399436042</c:v>
                </c:pt>
                <c:pt idx="82">
                  <c:v>788.54543881525194</c:v>
                </c:pt>
                <c:pt idx="83">
                  <c:v>804.94105748016591</c:v>
                </c:pt>
                <c:pt idx="84">
                  <c:v>821.16187908362929</c:v>
                </c:pt>
                <c:pt idx="85">
                  <c:v>837.1933293130503</c:v>
                </c:pt>
                <c:pt idx="86">
                  <c:v>853.02155877455664</c:v>
                </c:pt>
                <c:pt idx="87">
                  <c:v>868.63347970373889</c:v>
                </c:pt>
                <c:pt idx="88">
                  <c:v>884.01679911778081</c:v>
                </c:pt>
                <c:pt idx="89">
                  <c:v>899.16004106571665</c:v>
                </c:pt>
                <c:pt idx="90">
                  <c:v>914.05256199980977</c:v>
                </c:pt>
                <c:pt idx="91">
                  <c:v>928.68456842016053</c:v>
                </c:pt>
                <c:pt idx="92">
                  <c:v>943.04712558420999</c:v>
                </c:pt>
                <c:pt idx="93">
                  <c:v>957.13215918472667</c:v>
                </c:pt>
                <c:pt idx="94">
                  <c:v>970.93245620345033</c:v>
                </c:pt>
                <c:pt idx="95">
                  <c:v>984.44165996755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80.47083793360744</c:v>
                </c:pt>
                <c:pt idx="43">
                  <c:v>191.32086547024028</c:v>
                </c:pt>
                <c:pt idx="44">
                  <c:v>202.57740928594887</c:v>
                </c:pt>
                <c:pt idx="45">
                  <c:v>214.30559163956758</c:v>
                </c:pt>
                <c:pt idx="46">
                  <c:v>226.53779297808555</c:v>
                </c:pt>
                <c:pt idx="47">
                  <c:v>239.23312001582718</c:v>
                </c:pt>
                <c:pt idx="48">
                  <c:v>252.40761005649028</c:v>
                </c:pt>
                <c:pt idx="49">
                  <c:v>266.03247434354148</c:v>
                </c:pt>
                <c:pt idx="50">
                  <c:v>280.10148302323523</c:v>
                </c:pt>
                <c:pt idx="51">
                  <c:v>294.65201128849202</c:v>
                </c:pt>
                <c:pt idx="52">
                  <c:v>309.65687478815397</c:v>
                </c:pt>
                <c:pt idx="53">
                  <c:v>325.12098036239058</c:v>
                </c:pt>
                <c:pt idx="54">
                  <c:v>341.08386099984062</c:v>
                </c:pt>
                <c:pt idx="55">
                  <c:v>357.50781473192615</c:v>
                </c:pt>
                <c:pt idx="56">
                  <c:v>374.3832686212578</c:v>
                </c:pt>
                <c:pt idx="57">
                  <c:v>391.72524036277355</c:v>
                </c:pt>
                <c:pt idx="58">
                  <c:v>409.51608894125712</c:v>
                </c:pt>
                <c:pt idx="59">
                  <c:v>427.739044332552</c:v>
                </c:pt>
                <c:pt idx="60">
                  <c:v>446.39509108323631</c:v>
                </c:pt>
                <c:pt idx="61">
                  <c:v>465.47801187087242</c:v>
                </c:pt>
                <c:pt idx="62">
                  <c:v>484.96190348423966</c:v>
                </c:pt>
                <c:pt idx="63">
                  <c:v>504.82679208755337</c:v>
                </c:pt>
                <c:pt idx="64">
                  <c:v>525.06459310196385</c:v>
                </c:pt>
                <c:pt idx="65">
                  <c:v>545.64125339544864</c:v>
                </c:pt>
                <c:pt idx="66">
                  <c:v>566.53813676743437</c:v>
                </c:pt>
                <c:pt idx="67">
                  <c:v>587.74756168916633</c:v>
                </c:pt>
                <c:pt idx="68">
                  <c:v>609.22820358141018</c:v>
                </c:pt>
                <c:pt idx="69">
                  <c:v>630.95759008538266</c:v>
                </c:pt>
                <c:pt idx="70">
                  <c:v>652.90733234729817</c:v>
                </c:pt>
                <c:pt idx="71">
                  <c:v>675.04777393307359</c:v>
                </c:pt>
                <c:pt idx="72">
                  <c:v>697.34857468983932</c:v>
                </c:pt>
                <c:pt idx="73">
                  <c:v>719.77880742608284</c:v>
                </c:pt>
                <c:pt idx="74">
                  <c:v>742.30690871624643</c:v>
                </c:pt>
                <c:pt idx="75">
                  <c:v>764.90080907907509</c:v>
                </c:pt>
                <c:pt idx="76">
                  <c:v>787.52812272445067</c:v>
                </c:pt>
                <c:pt idx="77">
                  <c:v>810.15633337944712</c:v>
                </c:pt>
                <c:pt idx="78">
                  <c:v>832.75302350413358</c:v>
                </c:pt>
                <c:pt idx="79">
                  <c:v>855.28606687966885</c:v>
                </c:pt>
                <c:pt idx="80">
                  <c:v>877.72378981209602</c:v>
                </c:pt>
                <c:pt idx="81">
                  <c:v>900.03512939238772</c:v>
                </c:pt>
                <c:pt idx="82">
                  <c:v>922.18978101714401</c:v>
                </c:pt>
                <c:pt idx="83">
                  <c:v>944.15833557909605</c:v>
                </c:pt>
                <c:pt idx="84">
                  <c:v>965.91242056940041</c:v>
                </c:pt>
                <c:pt idx="85">
                  <c:v>987.42482948834697</c:v>
                </c:pt>
                <c:pt idx="86">
                  <c:v>1008.6696326517161</c:v>
                </c:pt>
                <c:pt idx="87">
                  <c:v>1029.622279566313</c:v>
                </c:pt>
                <c:pt idx="88">
                  <c:v>1050.259690168491</c:v>
                </c:pt>
                <c:pt idx="89">
                  <c:v>1070.5603247550471</c:v>
                </c:pt>
                <c:pt idx="90">
                  <c:v>1090.5042375955672</c:v>
                </c:pt>
                <c:pt idx="91">
                  <c:v>1110.0731265868262</c:v>
                </c:pt>
                <c:pt idx="92">
                  <c:v>1129.2503639639601</c:v>
                </c:pt>
                <c:pt idx="93">
                  <c:v>1148.0210108400584</c:v>
                </c:pt>
                <c:pt idx="94">
                  <c:v>1166.3718241002266</c:v>
                </c:pt>
                <c:pt idx="95">
                  <c:v>1184.29124948359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23</c:v>
                </c:pt>
                <c:pt idx="1">
                  <c:v>24</c:v>
                </c:pt>
                <c:pt idx="2">
                  <c:v>25</c:v>
                </c:pt>
                <c:pt idx="3">
                  <c:v>27</c:v>
                </c:pt>
                <c:pt idx="4">
                  <c:v>29</c:v>
                </c:pt>
                <c:pt idx="5">
                  <c:v>30</c:v>
                </c:pt>
                <c:pt idx="6">
                  <c:v>31</c:v>
                </c:pt>
                <c:pt idx="7">
                  <c:v>35</c:v>
                </c:pt>
                <c:pt idx="8">
                  <c:v>36</c:v>
                </c:pt>
                <c:pt idx="9">
                  <c:v>36</c:v>
                </c:pt>
                <c:pt idx="10">
                  <c:v>37</c:v>
                </c:pt>
                <c:pt idx="11">
                  <c:v>40</c:v>
                </c:pt>
                <c:pt idx="12">
                  <c:v>42</c:v>
                </c:pt>
                <c:pt idx="13">
                  <c:v>43</c:v>
                </c:pt>
                <c:pt idx="14">
                  <c:v>48</c:v>
                </c:pt>
                <c:pt idx="15">
                  <c:v>51</c:v>
                </c:pt>
                <c:pt idx="16">
                  <c:v>52</c:v>
                </c:pt>
                <c:pt idx="17">
                  <c:v>60</c:v>
                </c:pt>
                <c:pt idx="18">
                  <c:v>65</c:v>
                </c:pt>
                <c:pt idx="19">
                  <c:v>73</c:v>
                </c:pt>
                <c:pt idx="20">
                  <c:v>83</c:v>
                </c:pt>
                <c:pt idx="21">
                  <c:v>98</c:v>
                </c:pt>
                <c:pt idx="22">
                  <c:v>100</c:v>
                </c:pt>
                <c:pt idx="23">
                  <c:v>103</c:v>
                </c:pt>
                <c:pt idx="24">
                  <c:v>136</c:v>
                </c:pt>
                <c:pt idx="25">
                  <c:v>148</c:v>
                </c:pt>
                <c:pt idx="26">
                  <c:v>158</c:v>
                </c:pt>
                <c:pt idx="27">
                  <c:v>163</c:v>
                </c:pt>
                <c:pt idx="28">
                  <c:v>177</c:v>
                </c:pt>
                <c:pt idx="29">
                  <c:v>183</c:v>
                </c:pt>
                <c:pt idx="30">
                  <c:v>189</c:v>
                </c:pt>
                <c:pt idx="31">
                  <c:v>205</c:v>
                </c:pt>
                <c:pt idx="32">
                  <c:v>217</c:v>
                </c:pt>
                <c:pt idx="33">
                  <c:v>233</c:v>
                </c:pt>
                <c:pt idx="34">
                  <c:v>249</c:v>
                </c:pt>
                <c:pt idx="35">
                  <c:v>268</c:v>
                </c:pt>
                <c:pt idx="36">
                  <c:v>282</c:v>
                </c:pt>
                <c:pt idx="37">
                  <c:v>289</c:v>
                </c:pt>
                <c:pt idx="38">
                  <c:v>318</c:v>
                </c:pt>
                <c:pt idx="39">
                  <c:v>350</c:v>
                </c:pt>
                <c:pt idx="40">
                  <c:v>376</c:v>
                </c:pt>
                <c:pt idx="41">
                  <c:v>391</c:v>
                </c:pt>
                <c:pt idx="42">
                  <c:v>420</c:v>
                </c:pt>
                <c:pt idx="43">
                  <c:v>435</c:v>
                </c:pt>
                <c:pt idx="44">
                  <c:v>446</c:v>
                </c:pt>
                <c:pt idx="45">
                  <c:v>466</c:v>
                </c:pt>
                <c:pt idx="46">
                  <c:v>4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03.48205179888197</c:v>
                </c:pt>
                <c:pt idx="43">
                  <c:v>420.30409926791765</c:v>
                </c:pt>
                <c:pt idx="44">
                  <c:v>437.47195155780776</c:v>
                </c:pt>
                <c:pt idx="45">
                  <c:v>455.05830412819159</c:v>
                </c:pt>
                <c:pt idx="46">
                  <c:v>473.08302413532169</c:v>
                </c:pt>
                <c:pt idx="47">
                  <c:v>491.45214074413661</c:v>
                </c:pt>
                <c:pt idx="48">
                  <c:v>510.1664065932523</c:v>
                </c:pt>
                <c:pt idx="49">
                  <c:v>529.15741006316603</c:v>
                </c:pt>
                <c:pt idx="50">
                  <c:v>548.38840222101703</c:v>
                </c:pt>
                <c:pt idx="51">
                  <c:v>567.8999077349954</c:v>
                </c:pt>
                <c:pt idx="52">
                  <c:v>587.63241958661501</c:v>
                </c:pt>
                <c:pt idx="53">
                  <c:v>607.57606424386279</c:v>
                </c:pt>
                <c:pt idx="54">
                  <c:v>627.78330799053947</c:v>
                </c:pt>
                <c:pt idx="55">
                  <c:v>648.18065073220168</c:v>
                </c:pt>
                <c:pt idx="56">
                  <c:v>668.74362919069995</c:v>
                </c:pt>
                <c:pt idx="57">
                  <c:v>689.49024705499301</c:v>
                </c:pt>
                <c:pt idx="58">
                  <c:v>710.38696850351664</c:v>
                </c:pt>
                <c:pt idx="59">
                  <c:v>731.40675280487062</c:v>
                </c:pt>
                <c:pt idx="60">
                  <c:v>752.55404639550898</c:v>
                </c:pt>
                <c:pt idx="61">
                  <c:v>773.8193428736347</c:v>
                </c:pt>
                <c:pt idx="62">
                  <c:v>795.16960589588075</c:v>
                </c:pt>
                <c:pt idx="63">
                  <c:v>816.58227373455088</c:v>
                </c:pt>
                <c:pt idx="64">
                  <c:v>838.0558739842362</c:v>
                </c:pt>
                <c:pt idx="65">
                  <c:v>859.54984794790153</c:v>
                </c:pt>
                <c:pt idx="66">
                  <c:v>881.05199758890103</c:v>
                </c:pt>
                <c:pt idx="67">
                  <c:v>902.57244501220259</c:v>
                </c:pt>
                <c:pt idx="68">
                  <c:v>924.06468850076374</c:v>
                </c:pt>
                <c:pt idx="69">
                  <c:v>945.51839596934678</c:v>
                </c:pt>
                <c:pt idx="70">
                  <c:v>966.91531891101567</c:v>
                </c:pt>
                <c:pt idx="71">
                  <c:v>988.23729387423714</c:v>
                </c:pt>
                <c:pt idx="72">
                  <c:v>1009.4666604373944</c:v>
                </c:pt>
                <c:pt idx="73">
                  <c:v>1030.5862553722827</c:v>
                </c:pt>
                <c:pt idx="74">
                  <c:v>1051.5792732771072</c:v>
                </c:pt>
                <c:pt idx="75">
                  <c:v>1072.4292758051797</c:v>
                </c:pt>
                <c:pt idx="76">
                  <c:v>1093.1202468424835</c:v>
                </c:pt>
                <c:pt idx="77">
                  <c:v>1113.6366419306905</c:v>
                </c:pt>
                <c:pt idx="78">
                  <c:v>1133.9634728257124</c:v>
                </c:pt>
                <c:pt idx="79">
                  <c:v>1154.0863569659459</c:v>
                </c:pt>
                <c:pt idx="80">
                  <c:v>1173.9915403582067</c:v>
                </c:pt>
                <c:pt idx="81">
                  <c:v>1193.6659198600648</c:v>
                </c:pt>
                <c:pt idx="82">
                  <c:v>1213.0970588134651</c:v>
                </c:pt>
                <c:pt idx="83">
                  <c:v>1232.2731974979224</c:v>
                </c:pt>
                <c:pt idx="84">
                  <c:v>1251.1832729662549</c:v>
                </c:pt>
                <c:pt idx="85">
                  <c:v>1269.8169354082988</c:v>
                </c:pt>
                <c:pt idx="86">
                  <c:v>1288.1645556114245</c:v>
                </c:pt>
                <c:pt idx="87">
                  <c:v>1306.2172333458725</c:v>
                </c:pt>
                <c:pt idx="88">
                  <c:v>1323.9668042457483</c:v>
                </c:pt>
                <c:pt idx="89">
                  <c:v>1341.4058372855004</c:v>
                </c:pt>
                <c:pt idx="90">
                  <c:v>1358.5276281516778</c:v>
                </c:pt>
                <c:pt idx="91">
                  <c:v>1375.3261978269529</c:v>
                </c:pt>
                <c:pt idx="92">
                  <c:v>1391.796284743597</c:v>
                </c:pt>
                <c:pt idx="93">
                  <c:v>1407.9333321221629</c:v>
                </c:pt>
                <c:pt idx="94">
                  <c:v>1423.7334775380134</c:v>
                </c:pt>
                <c:pt idx="95">
                  <c:v>1439.19353843922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03.81893853996314</c:v>
                </c:pt>
                <c:pt idx="43">
                  <c:v>421.11275476566283</c:v>
                </c:pt>
                <c:pt idx="44">
                  <c:v>438.90319601990382</c:v>
                </c:pt>
                <c:pt idx="45">
                  <c:v>457.27832050449399</c:v>
                </c:pt>
                <c:pt idx="46">
                  <c:v>476.27283053126604</c:v>
                </c:pt>
                <c:pt idx="47">
                  <c:v>495.80679752760955</c:v>
                </c:pt>
                <c:pt idx="48">
                  <c:v>515.89318001516631</c:v>
                </c:pt>
                <c:pt idx="49">
                  <c:v>536.4744478403926</c:v>
                </c:pt>
                <c:pt idx="50">
                  <c:v>557.52326805373286</c:v>
                </c:pt>
                <c:pt idx="51">
                  <c:v>579.08830935361505</c:v>
                </c:pt>
                <c:pt idx="52">
                  <c:v>601.11734584675389</c:v>
                </c:pt>
                <c:pt idx="53">
                  <c:v>623.60650722922719</c:v>
                </c:pt>
                <c:pt idx="54">
                  <c:v>646.61313424034097</c:v>
                </c:pt>
                <c:pt idx="55">
                  <c:v>670.06752660840596</c:v>
                </c:pt>
                <c:pt idx="56">
                  <c:v>693.94786495033725</c:v>
                </c:pt>
                <c:pt idx="57">
                  <c:v>718.27360107836068</c:v>
                </c:pt>
                <c:pt idx="58">
                  <c:v>743.01165165761245</c:v>
                </c:pt>
                <c:pt idx="59">
                  <c:v>768.13439600133813</c:v>
                </c:pt>
                <c:pt idx="60">
                  <c:v>793.64446107748267</c:v>
                </c:pt>
                <c:pt idx="61">
                  <c:v>819.52931479945414</c:v>
                </c:pt>
                <c:pt idx="62">
                  <c:v>845.75181001041256</c:v>
                </c:pt>
                <c:pt idx="63">
                  <c:v>872.28407636818713</c:v>
                </c:pt>
                <c:pt idx="64">
                  <c:v>899.11817914396806</c:v>
                </c:pt>
                <c:pt idx="65">
                  <c:v>926.20640167535259</c:v>
                </c:pt>
                <c:pt idx="66">
                  <c:v>953.52857188282064</c:v>
                </c:pt>
                <c:pt idx="67">
                  <c:v>981.08570297202778</c:v>
                </c:pt>
                <c:pt idx="68">
                  <c:v>1008.8212767887926</c:v>
                </c:pt>
                <c:pt idx="69">
                  <c:v>1036.7139750682188</c:v>
                </c:pt>
                <c:pt idx="70">
                  <c:v>1064.7337345443966</c:v>
                </c:pt>
                <c:pt idx="71">
                  <c:v>1092.8498330211237</c:v>
                </c:pt>
                <c:pt idx="72">
                  <c:v>1121.0315298490345</c:v>
                </c:pt>
                <c:pt idx="73">
                  <c:v>1149.2481151344955</c:v>
                </c:pt>
                <c:pt idx="74">
                  <c:v>1177.4687749659215</c:v>
                </c:pt>
                <c:pt idx="75">
                  <c:v>1205.662669107179</c:v>
                </c:pt>
                <c:pt idx="76">
                  <c:v>1233.799074564324</c:v>
                </c:pt>
                <c:pt idx="77">
                  <c:v>1261.8475213795077</c:v>
                </c:pt>
                <c:pt idx="78">
                  <c:v>1289.7779798906813</c:v>
                </c:pt>
                <c:pt idx="79">
                  <c:v>1317.5609989541554</c:v>
                </c:pt>
                <c:pt idx="80">
                  <c:v>1345.1678063863569</c:v>
                </c:pt>
                <c:pt idx="81">
                  <c:v>1372.5704072096341</c:v>
                </c:pt>
                <c:pt idx="82">
                  <c:v>1399.7416716258258</c:v>
                </c:pt>
                <c:pt idx="83">
                  <c:v>1426.6554138625784</c:v>
                </c:pt>
                <c:pt idx="84">
                  <c:v>1453.2864803990244</c:v>
                </c:pt>
                <c:pt idx="85">
                  <c:v>1479.6108302731523</c:v>
                </c:pt>
                <c:pt idx="86">
                  <c:v>1505.6055996230746</c:v>
                </c:pt>
                <c:pt idx="87">
                  <c:v>1531.2491630545037</c:v>
                </c:pt>
                <c:pt idx="88">
                  <c:v>1556.5211887617397</c:v>
                </c:pt>
                <c:pt idx="89">
                  <c:v>1581.4026762395972</c:v>
                </c:pt>
                <c:pt idx="90">
                  <c:v>1605.8759833595536</c:v>
                </c:pt>
                <c:pt idx="91">
                  <c:v>1629.9248558927643</c:v>
                </c:pt>
                <c:pt idx="92">
                  <c:v>1653.5344432946345</c:v>
                </c:pt>
                <c:pt idx="93">
                  <c:v>1676.6913030959984</c:v>
                </c:pt>
                <c:pt idx="94">
                  <c:v>1699.3834036205487</c:v>
                </c:pt>
                <c:pt idx="95">
                  <c:v>1721.6001167539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04.15797560208188</c:v>
                </c:pt>
                <c:pt idx="43">
                  <c:v>421.92916935298013</c:v>
                </c:pt>
                <c:pt idx="44">
                  <c:v>440.35357098847993</c:v>
                </c:pt>
                <c:pt idx="45">
                  <c:v>459.5373593020575</c:v>
                </c:pt>
                <c:pt idx="46">
                  <c:v>479.53323238589564</c:v>
                </c:pt>
                <c:pt idx="47">
                  <c:v>500.27882836214536</c:v>
                </c:pt>
                <c:pt idx="48">
                  <c:v>521.8031622299651</c:v>
                </c:pt>
                <c:pt idx="49">
                  <c:v>544.06371667460462</c:v>
                </c:pt>
                <c:pt idx="50">
                  <c:v>567.04692139672761</c:v>
                </c:pt>
                <c:pt idx="51">
                  <c:v>590.81409631648762</c:v>
                </c:pt>
                <c:pt idx="52">
                  <c:v>615.32489453510209</c:v>
                </c:pt>
                <c:pt idx="53">
                  <c:v>640.58604893796883</c:v>
                </c:pt>
                <c:pt idx="54">
                  <c:v>666.6643070137095</c:v>
                </c:pt>
                <c:pt idx="55">
                  <c:v>693.49815391395077</c:v>
                </c:pt>
                <c:pt idx="56">
                  <c:v>721.072603407114</c:v>
                </c:pt>
                <c:pt idx="57">
                  <c:v>749.41245257234846</c:v>
                </c:pt>
                <c:pt idx="58">
                  <c:v>778.48863235913223</c:v>
                </c:pt>
                <c:pt idx="59">
                  <c:v>808.27610026319553</c:v>
                </c:pt>
                <c:pt idx="60">
                  <c:v>838.77830743992934</c:v>
                </c:pt>
                <c:pt idx="61">
                  <c:v>869.98176774044578</c:v>
                </c:pt>
                <c:pt idx="62">
                  <c:v>901.84665898659421</c:v>
                </c:pt>
                <c:pt idx="63">
                  <c:v>934.34056957786493</c:v>
                </c:pt>
                <c:pt idx="64">
                  <c:v>967.44915834401809</c:v>
                </c:pt>
                <c:pt idx="65">
                  <c:v>1001.116934134456</c:v>
                </c:pt>
                <c:pt idx="66">
                  <c:v>1035.3144403862052</c:v>
                </c:pt>
                <c:pt idx="67">
                  <c:v>1070.0314790048526</c:v>
                </c:pt>
                <c:pt idx="68">
                  <c:v>1105.1986397458086</c:v>
                </c:pt>
                <c:pt idx="69">
                  <c:v>1140.7799826715986</c:v>
                </c:pt>
                <c:pt idx="70">
                  <c:v>1176.7292693700406</c:v>
                </c:pt>
                <c:pt idx="71">
                  <c:v>1212.998168658102</c:v>
                </c:pt>
                <c:pt idx="72">
                  <c:v>1249.537196878108</c:v>
                </c:pt>
                <c:pt idx="73">
                  <c:v>1286.29587006067</c:v>
                </c:pt>
                <c:pt idx="74">
                  <c:v>1323.2226186995495</c:v>
                </c:pt>
                <c:pt idx="75">
                  <c:v>1360.2650009702547</c:v>
                </c:pt>
                <c:pt idx="76">
                  <c:v>1397.3700123205115</c:v>
                </c:pt>
                <c:pt idx="77">
                  <c:v>1434.4843893234292</c:v>
                </c:pt>
                <c:pt idx="78">
                  <c:v>1471.55498864061</c:v>
                </c:pt>
                <c:pt idx="79">
                  <c:v>1508.5291018204948</c:v>
                </c:pt>
                <c:pt idx="80">
                  <c:v>1545.3547197993446</c:v>
                </c:pt>
                <c:pt idx="81">
                  <c:v>1581.9807929868034</c:v>
                </c:pt>
                <c:pt idx="82">
                  <c:v>1618.3574751334211</c:v>
                </c:pt>
                <c:pt idx="83">
                  <c:v>1654.4363505790816</c:v>
                </c:pt>
                <c:pt idx="84">
                  <c:v>1690.1706670929195</c:v>
                </c:pt>
                <c:pt idx="85">
                  <c:v>1725.5155506669794</c:v>
                </c:pt>
                <c:pt idx="86">
                  <c:v>1760.4281907029715</c:v>
                </c:pt>
                <c:pt idx="87">
                  <c:v>1794.8680108150836</c:v>
                </c:pt>
                <c:pt idx="88">
                  <c:v>1828.7968209634921</c:v>
                </c:pt>
                <c:pt idx="89">
                  <c:v>1862.1789353778165</c:v>
                </c:pt>
                <c:pt idx="90">
                  <c:v>1894.9812646257201</c:v>
                </c:pt>
                <c:pt idx="91">
                  <c:v>1927.1733995194231</c:v>
                </c:pt>
                <c:pt idx="92">
                  <c:v>1958.7276651833736</c:v>
                </c:pt>
                <c:pt idx="93">
                  <c:v>1989.619148770943</c:v>
                </c:pt>
                <c:pt idx="94">
                  <c:v>2019.8257141673025</c:v>
                </c:pt>
                <c:pt idx="95">
                  <c:v>2049.3279933880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9</c:v>
                </c:pt>
                <c:pt idx="1">
                  <c:v>39</c:v>
                </c:pt>
                <c:pt idx="2">
                  <c:v>39</c:v>
                </c:pt>
                <c:pt idx="3">
                  <c:v>40</c:v>
                </c:pt>
                <c:pt idx="4">
                  <c:v>41</c:v>
                </c:pt>
                <c:pt idx="5">
                  <c:v>41</c:v>
                </c:pt>
                <c:pt idx="6">
                  <c:v>43</c:v>
                </c:pt>
                <c:pt idx="7">
                  <c:v>44</c:v>
                </c:pt>
                <c:pt idx="8">
                  <c:v>45</c:v>
                </c:pt>
                <c:pt idx="9">
                  <c:v>45</c:v>
                </c:pt>
                <c:pt idx="10">
                  <c:v>48</c:v>
                </c:pt>
                <c:pt idx="11">
                  <c:v>52</c:v>
                </c:pt>
                <c:pt idx="12">
                  <c:v>53</c:v>
                </c:pt>
                <c:pt idx="13">
                  <c:v>55</c:v>
                </c:pt>
                <c:pt idx="14">
                  <c:v>57</c:v>
                </c:pt>
                <c:pt idx="15">
                  <c:v>59</c:v>
                </c:pt>
                <c:pt idx="16">
                  <c:v>59</c:v>
                </c:pt>
                <c:pt idx="17">
                  <c:v>61</c:v>
                </c:pt>
                <c:pt idx="18">
                  <c:v>64</c:v>
                </c:pt>
                <c:pt idx="19">
                  <c:v>66</c:v>
                </c:pt>
                <c:pt idx="20">
                  <c:v>73</c:v>
                </c:pt>
                <c:pt idx="21">
                  <c:v>84</c:v>
                </c:pt>
                <c:pt idx="22">
                  <c:v>89</c:v>
                </c:pt>
                <c:pt idx="23">
                  <c:v>90</c:v>
                </c:pt>
                <c:pt idx="24">
                  <c:v>97</c:v>
                </c:pt>
                <c:pt idx="25">
                  <c:v>112</c:v>
                </c:pt>
                <c:pt idx="26">
                  <c:v>121</c:v>
                </c:pt>
                <c:pt idx="27">
                  <c:v>136</c:v>
                </c:pt>
                <c:pt idx="28">
                  <c:v>157</c:v>
                </c:pt>
                <c:pt idx="29">
                  <c:v>162</c:v>
                </c:pt>
                <c:pt idx="30">
                  <c:v>168</c:v>
                </c:pt>
                <c:pt idx="31">
                  <c:v>181</c:v>
                </c:pt>
                <c:pt idx="32">
                  <c:v>187</c:v>
                </c:pt>
                <c:pt idx="33">
                  <c:v>209</c:v>
                </c:pt>
                <c:pt idx="34">
                  <c:v>224</c:v>
                </c:pt>
                <c:pt idx="35">
                  <c:v>240</c:v>
                </c:pt>
                <c:pt idx="36">
                  <c:v>251</c:v>
                </c:pt>
                <c:pt idx="37">
                  <c:v>262</c:v>
                </c:pt>
                <c:pt idx="38">
                  <c:v>283</c:v>
                </c:pt>
                <c:pt idx="39">
                  <c:v>303</c:v>
                </c:pt>
                <c:pt idx="40">
                  <c:v>320</c:v>
                </c:pt>
                <c:pt idx="41">
                  <c:v>346</c:v>
                </c:pt>
                <c:pt idx="42">
                  <c:v>372</c:v>
                </c:pt>
                <c:pt idx="43">
                  <c:v>411</c:v>
                </c:pt>
                <c:pt idx="44">
                  <c:v>432</c:v>
                </c:pt>
                <c:pt idx="45">
                  <c:v>451</c:v>
                </c:pt>
                <c:pt idx="46">
                  <c:v>4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51.75990094253848</c:v>
                </c:pt>
                <c:pt idx="43">
                  <c:v>370.93978918102988</c:v>
                </c:pt>
                <c:pt idx="44">
                  <c:v>390.57393533103686</c:v>
                </c:pt>
                <c:pt idx="45">
                  <c:v>410.74699999391646</c:v>
                </c:pt>
                <c:pt idx="46">
                  <c:v>431.48247361518634</c:v>
                </c:pt>
                <c:pt idx="47">
                  <c:v>452.64383057966268</c:v>
                </c:pt>
                <c:pt idx="48">
                  <c:v>474.21552282191101</c:v>
                </c:pt>
                <c:pt idx="49">
                  <c:v>496.09191629541255</c:v>
                </c:pt>
                <c:pt idx="50">
                  <c:v>518.25322057933863</c:v>
                </c:pt>
                <c:pt idx="51">
                  <c:v>540.74707537848485</c:v>
                </c:pt>
                <c:pt idx="52">
                  <c:v>563.48174958282971</c:v>
                </c:pt>
                <c:pt idx="53">
                  <c:v>586.45622835552865</c:v>
                </c:pt>
                <c:pt idx="54">
                  <c:v>609.72055054497037</c:v>
                </c:pt>
                <c:pt idx="55">
                  <c:v>633.19167829269622</c:v>
                </c:pt>
                <c:pt idx="56">
                  <c:v>656.83998160927172</c:v>
                </c:pt>
                <c:pt idx="57">
                  <c:v>680.68742837108061</c:v>
                </c:pt>
                <c:pt idx="58">
                  <c:v>704.69928857668833</c:v>
                </c:pt>
                <c:pt idx="59">
                  <c:v>728.83238133647546</c:v>
                </c:pt>
                <c:pt idx="60">
                  <c:v>753.08313764881655</c:v>
                </c:pt>
                <c:pt idx="61">
                  <c:v>777.46345917880899</c:v>
                </c:pt>
                <c:pt idx="62">
                  <c:v>801.92198186715302</c:v>
                </c:pt>
                <c:pt idx="63">
                  <c:v>826.4334699276576</c:v>
                </c:pt>
                <c:pt idx="64">
                  <c:v>851.00545911603774</c:v>
                </c:pt>
                <c:pt idx="65">
                  <c:v>875.59212698072122</c:v>
                </c:pt>
                <c:pt idx="66">
                  <c:v>900.17526465233971</c:v>
                </c:pt>
                <c:pt idx="67">
                  <c:v>924.75404602864887</c:v>
                </c:pt>
                <c:pt idx="68">
                  <c:v>949.28795225846636</c:v>
                </c:pt>
                <c:pt idx="69">
                  <c:v>973.76178661332688</c:v>
                </c:pt>
                <c:pt idx="70">
                  <c:v>998.15485460029561</c:v>
                </c:pt>
                <c:pt idx="71">
                  <c:v>1022.4465462949433</c:v>
                </c:pt>
                <c:pt idx="72">
                  <c:v>1046.6168560234098</c:v>
                </c:pt>
                <c:pt idx="73">
                  <c:v>1070.6463890361229</c:v>
                </c:pt>
                <c:pt idx="74">
                  <c:v>1094.516212101058</c:v>
                </c:pt>
                <c:pt idx="75">
                  <c:v>1118.2078586084854</c:v>
                </c:pt>
                <c:pt idx="76">
                  <c:v>1141.703390860016</c:v>
                </c:pt>
                <c:pt idx="77">
                  <c:v>1164.9854549705176</c:v>
                </c:pt>
                <c:pt idx="78">
                  <c:v>1188.0373644689503</c:v>
                </c:pt>
                <c:pt idx="79">
                  <c:v>1210.8431575782452</c:v>
                </c:pt>
                <c:pt idx="80">
                  <c:v>1233.3876216822309</c:v>
                </c:pt>
                <c:pt idx="81">
                  <c:v>1255.6563177879611</c:v>
                </c:pt>
                <c:pt idx="82">
                  <c:v>1277.6355940158694</c:v>
                </c:pt>
                <c:pt idx="83">
                  <c:v>1299.3125928080394</c:v>
                </c:pt>
                <c:pt idx="84">
                  <c:v>1320.6752731411052</c:v>
                </c:pt>
                <c:pt idx="85">
                  <c:v>1341.7124255919421</c:v>
                </c:pt>
                <c:pt idx="86">
                  <c:v>1362.413675494601</c:v>
                </c:pt>
                <c:pt idx="87">
                  <c:v>1382.7694896613189</c:v>
                </c:pt>
                <c:pt idx="88">
                  <c:v>1402.7711835016153</c:v>
                </c:pt>
                <c:pt idx="89">
                  <c:v>1422.4109155858707</c:v>
                </c:pt>
                <c:pt idx="90">
                  <c:v>1441.6816747116038</c:v>
                </c:pt>
                <c:pt idx="91">
                  <c:v>1460.5772786770758</c:v>
                </c:pt>
                <c:pt idx="92">
                  <c:v>1479.0923617245976</c:v>
                </c:pt>
                <c:pt idx="93">
                  <c:v>1497.2223559395752</c:v>
                </c:pt>
                <c:pt idx="94">
                  <c:v>1514.9634765761093</c:v>
                </c:pt>
                <c:pt idx="95">
                  <c:v>1532.31270469258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52.16582503278892</c:v>
                </c:pt>
                <c:pt idx="43">
                  <c:v>371.91423588218311</c:v>
                </c:pt>
                <c:pt idx="44">
                  <c:v>392.29843101614023</c:v>
                </c:pt>
                <c:pt idx="45">
                  <c:v>413.42128299455476</c:v>
                </c:pt>
                <c:pt idx="46">
                  <c:v>435.32381533113244</c:v>
                </c:pt>
                <c:pt idx="47">
                  <c:v>457.88589099547119</c:v>
                </c:pt>
                <c:pt idx="48">
                  <c:v>481.10564554758685</c:v>
                </c:pt>
                <c:pt idx="49">
                  <c:v>504.88934046071859</c:v>
                </c:pt>
                <c:pt idx="50">
                  <c:v>529.22707277622283</c:v>
                </c:pt>
                <c:pt idx="51">
                  <c:v>554.17479250707697</c:v>
                </c:pt>
                <c:pt idx="52">
                  <c:v>579.64813834904885</c:v>
                </c:pt>
                <c:pt idx="53">
                  <c:v>605.6518179292209</c:v>
                </c:pt>
                <c:pt idx="54">
                  <c:v>632.24035521828557</c:v>
                </c:pt>
                <c:pt idx="55">
                  <c:v>659.33388864137385</c:v>
                </c:pt>
                <c:pt idx="56">
                  <c:v>686.90461102893164</c:v>
                </c:pt>
                <c:pt idx="57">
                  <c:v>714.97497047226602</c:v>
                </c:pt>
                <c:pt idx="58">
                  <c:v>743.50962994880376</c:v>
                </c:pt>
                <c:pt idx="59">
                  <c:v>772.46363537993102</c:v>
                </c:pt>
                <c:pt idx="60">
                  <c:v>801.83024507613209</c:v>
                </c:pt>
                <c:pt idx="61">
                  <c:v>831.61684063331279</c:v>
                </c:pt>
                <c:pt idx="62">
                  <c:v>861.76643039157398</c:v>
                </c:pt>
                <c:pt idx="63">
                  <c:v>892.24676131689353</c:v>
                </c:pt>
                <c:pt idx="64">
                  <c:v>923.05701290628167</c:v>
                </c:pt>
                <c:pt idx="65">
                  <c:v>954.14231715527978</c:v>
                </c:pt>
                <c:pt idx="66">
                  <c:v>985.47450417610924</c:v>
                </c:pt>
                <c:pt idx="67">
                  <c:v>1017.041534432625</c:v>
                </c:pt>
                <c:pt idx="68">
                  <c:v>1048.7906627729471</c:v>
                </c:pt>
                <c:pt idx="69">
                  <c:v>1080.6934402573979</c:v>
                </c:pt>
                <c:pt idx="70">
                  <c:v>1112.7150401784511</c:v>
                </c:pt>
                <c:pt idx="71">
                  <c:v>1144.8199115795082</c:v>
                </c:pt>
                <c:pt idx="72">
                  <c:v>1176.9725753201374</c:v>
                </c:pt>
                <c:pt idx="73">
                  <c:v>1209.1377013773485</c:v>
                </c:pt>
                <c:pt idx="74">
                  <c:v>1241.2799698506283</c:v>
                </c:pt>
                <c:pt idx="75">
                  <c:v>1273.3641542092923</c:v>
                </c:pt>
                <c:pt idx="76">
                  <c:v>1305.3552861549006</c:v>
                </c:pt>
                <c:pt idx="77">
                  <c:v>1337.2188097371247</c:v>
                </c:pt>
                <c:pt idx="78">
                  <c:v>1368.9207772956061</c:v>
                </c:pt>
                <c:pt idx="79">
                  <c:v>1400.4280089885679</c:v>
                </c:pt>
                <c:pt idx="80">
                  <c:v>1431.708205156825</c:v>
                </c:pt>
                <c:pt idx="81">
                  <c:v>1462.7300559450575</c:v>
                </c:pt>
                <c:pt idx="82">
                  <c:v>1493.4633340492258</c:v>
                </c:pt>
                <c:pt idx="83">
                  <c:v>1523.8789764378898</c:v>
                </c:pt>
                <c:pt idx="84">
                  <c:v>1553.9491818451895</c:v>
                </c:pt>
                <c:pt idx="85">
                  <c:v>1583.6474947987715</c:v>
                </c:pt>
                <c:pt idx="86">
                  <c:v>1612.9488686198579</c:v>
                </c:pt>
                <c:pt idx="87">
                  <c:v>1641.8297280257254</c:v>
                </c:pt>
                <c:pt idx="88">
                  <c:v>1670.2680271442464</c:v>
                </c:pt>
                <c:pt idx="89">
                  <c:v>1698.2432848846722</c:v>
                </c:pt>
                <c:pt idx="90">
                  <c:v>1725.7366042851238</c:v>
                </c:pt>
                <c:pt idx="91">
                  <c:v>1752.7307024654051</c:v>
                </c:pt>
                <c:pt idx="92">
                  <c:v>1779.2099193861063</c:v>
                </c:pt>
                <c:pt idx="93">
                  <c:v>1805.160212822645</c:v>
                </c:pt>
                <c:pt idx="94">
                  <c:v>1830.5691534041418</c:v>
                </c:pt>
                <c:pt idx="95">
                  <c:v>1855.42591104665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52.57430097328995</c:v>
                </c:pt>
                <c:pt idx="43">
                  <c:v>372.89793331438869</c:v>
                </c:pt>
                <c:pt idx="44">
                  <c:v>394.04579540604885</c:v>
                </c:pt>
                <c:pt idx="45">
                  <c:v>416.14227993208988</c:v>
                </c:pt>
                <c:pt idx="46">
                  <c:v>439.24971900767144</c:v>
                </c:pt>
                <c:pt idx="47">
                  <c:v>463.26855530201072</c:v>
                </c:pt>
                <c:pt idx="48">
                  <c:v>488.21516623270827</c:v>
                </c:pt>
                <c:pt idx="49">
                  <c:v>514.01257532597265</c:v>
                </c:pt>
                <c:pt idx="50">
                  <c:v>540.66585325978508</c:v>
                </c:pt>
                <c:pt idx="51">
                  <c:v>568.24449527291995</c:v>
                </c:pt>
                <c:pt idx="52">
                  <c:v>596.67680478647048</c:v>
                </c:pt>
                <c:pt idx="53">
                  <c:v>625.97845727079539</c:v>
                </c:pt>
                <c:pt idx="54">
                  <c:v>656.2135750494715</c:v>
                </c:pt>
                <c:pt idx="55">
                  <c:v>687.31035863134275</c:v>
                </c:pt>
                <c:pt idx="56">
                  <c:v>719.24742942538137</c:v>
                </c:pt>
                <c:pt idx="57">
                  <c:v>752.05192472135082</c:v>
                </c:pt>
                <c:pt idx="58">
                  <c:v>785.69167031417169</c:v>
                </c:pt>
                <c:pt idx="59">
                  <c:v>820.12319493920495</c:v>
                </c:pt>
                <c:pt idx="60">
                  <c:v>855.33920029744729</c:v>
                </c:pt>
                <c:pt idx="61">
                  <c:v>891.34446415538105</c:v>
                </c:pt>
                <c:pt idx="62">
                  <c:v>928.07751483168238</c:v>
                </c:pt>
                <c:pt idx="63">
                  <c:v>965.49942971158146</c:v>
                </c:pt>
                <c:pt idx="64">
                  <c:v>1003.6005325568195</c:v>
                </c:pt>
                <c:pt idx="65">
                  <c:v>1042.3156235039894</c:v>
                </c:pt>
                <c:pt idx="66">
                  <c:v>1081.6044857868249</c:v>
                </c:pt>
                <c:pt idx="67">
                  <c:v>1121.440878941582</c:v>
                </c:pt>
                <c:pt idx="68">
                  <c:v>1161.7559737890483</c:v>
                </c:pt>
                <c:pt idx="69">
                  <c:v>1202.503363186157</c:v>
                </c:pt>
                <c:pt idx="70">
                  <c:v>1243.6285803251271</c:v>
                </c:pt>
                <c:pt idx="71">
                  <c:v>1285.0748666305958</c:v>
                </c:pt>
                <c:pt idx="72">
                  <c:v>1326.7843450110308</c:v>
                </c:pt>
                <c:pt idx="73">
                  <c:v>1368.698231729164</c:v>
                </c:pt>
                <c:pt idx="74">
                  <c:v>1410.7567673661595</c:v>
                </c:pt>
                <c:pt idx="75">
                  <c:v>1452.899460662645</c:v>
                </c:pt>
                <c:pt idx="76">
                  <c:v>1495.0654498821191</c:v>
                </c:pt>
                <c:pt idx="77">
                  <c:v>1537.1938534263597</c:v>
                </c:pt>
                <c:pt idx="78">
                  <c:v>1579.2241816259855</c:v>
                </c:pt>
                <c:pt idx="79">
                  <c:v>1621.0967006701592</c:v>
                </c:pt>
                <c:pt idx="80">
                  <c:v>1662.75273224546</c:v>
                </c:pt>
                <c:pt idx="81">
                  <c:v>1704.1349456411551</c:v>
                </c:pt>
                <c:pt idx="82">
                  <c:v>1745.1876229163991</c:v>
                </c:pt>
                <c:pt idx="83">
                  <c:v>1785.8569032224154</c:v>
                </c:pt>
                <c:pt idx="84">
                  <c:v>1826.0910385077204</c:v>
                </c:pt>
                <c:pt idx="85">
                  <c:v>1865.8406218369771</c:v>
                </c:pt>
                <c:pt idx="86">
                  <c:v>1905.0587765597338</c:v>
                </c:pt>
                <c:pt idx="87">
                  <c:v>1943.701332547033</c:v>
                </c:pt>
                <c:pt idx="88">
                  <c:v>1981.7269836954067</c:v>
                </c:pt>
                <c:pt idx="89">
                  <c:v>2019.0974020896681</c:v>
                </c:pt>
                <c:pt idx="90">
                  <c:v>2055.7773172566904</c:v>
                </c:pt>
                <c:pt idx="91">
                  <c:v>2091.7345963563512</c:v>
                </c:pt>
                <c:pt idx="92">
                  <c:v>2126.9402829809233</c:v>
                </c:pt>
                <c:pt idx="93">
                  <c:v>2161.3686049847465</c:v>
                </c:pt>
                <c:pt idx="94">
                  <c:v>2194.9969704355772</c:v>
                </c:pt>
                <c:pt idx="95">
                  <c:v>2227.80594108327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88</c:v>
                </c:pt>
                <c:pt idx="1">
                  <c:v>91</c:v>
                </c:pt>
                <c:pt idx="2">
                  <c:v>96</c:v>
                </c:pt>
                <c:pt idx="3">
                  <c:v>103</c:v>
                </c:pt>
                <c:pt idx="4">
                  <c:v>112</c:v>
                </c:pt>
                <c:pt idx="5">
                  <c:v>125</c:v>
                </c:pt>
                <c:pt idx="6">
                  <c:v>131</c:v>
                </c:pt>
                <c:pt idx="7">
                  <c:v>142</c:v>
                </c:pt>
                <c:pt idx="8">
                  <c:v>148</c:v>
                </c:pt>
                <c:pt idx="9">
                  <c:v>153</c:v>
                </c:pt>
                <c:pt idx="10">
                  <c:v>176</c:v>
                </c:pt>
                <c:pt idx="11">
                  <c:v>189</c:v>
                </c:pt>
                <c:pt idx="12">
                  <c:v>198</c:v>
                </c:pt>
                <c:pt idx="13">
                  <c:v>208</c:v>
                </c:pt>
                <c:pt idx="14">
                  <c:v>223</c:v>
                </c:pt>
                <c:pt idx="15">
                  <c:v>232</c:v>
                </c:pt>
                <c:pt idx="16">
                  <c:v>242</c:v>
                </c:pt>
                <c:pt idx="17">
                  <c:v>267</c:v>
                </c:pt>
                <c:pt idx="18">
                  <c:v>291</c:v>
                </c:pt>
                <c:pt idx="19">
                  <c:v>311</c:v>
                </c:pt>
                <c:pt idx="20">
                  <c:v>331</c:v>
                </c:pt>
                <c:pt idx="21">
                  <c:v>354</c:v>
                </c:pt>
                <c:pt idx="22">
                  <c:v>372</c:v>
                </c:pt>
                <c:pt idx="23">
                  <c:v>390</c:v>
                </c:pt>
                <c:pt idx="24">
                  <c:v>438</c:v>
                </c:pt>
                <c:pt idx="25">
                  <c:v>487</c:v>
                </c:pt>
                <c:pt idx="26">
                  <c:v>541</c:v>
                </c:pt>
                <c:pt idx="27">
                  <c:v>560</c:v>
                </c:pt>
                <c:pt idx="28">
                  <c:v>622</c:v>
                </c:pt>
                <c:pt idx="29">
                  <c:v>649</c:v>
                </c:pt>
                <c:pt idx="30">
                  <c:v>683</c:v>
                </c:pt>
                <c:pt idx="31">
                  <c:v>774</c:v>
                </c:pt>
                <c:pt idx="32">
                  <c:v>830</c:v>
                </c:pt>
                <c:pt idx="33">
                  <c:v>896</c:v>
                </c:pt>
                <c:pt idx="34">
                  <c:v>968</c:v>
                </c:pt>
                <c:pt idx="35">
                  <c:v>1015</c:v>
                </c:pt>
                <c:pt idx="36">
                  <c:v>1063</c:v>
                </c:pt>
                <c:pt idx="37">
                  <c:v>1118</c:v>
                </c:pt>
                <c:pt idx="38">
                  <c:v>1193</c:v>
                </c:pt>
                <c:pt idx="39">
                  <c:v>1298</c:v>
                </c:pt>
                <c:pt idx="40">
                  <c:v>1384</c:v>
                </c:pt>
                <c:pt idx="41">
                  <c:v>1468</c:v>
                </c:pt>
                <c:pt idx="42">
                  <c:v>1538</c:v>
                </c:pt>
                <c:pt idx="43">
                  <c:v>1595</c:v>
                </c:pt>
                <c:pt idx="44">
                  <c:v>1642</c:v>
                </c:pt>
                <c:pt idx="45">
                  <c:v>1741</c:v>
                </c:pt>
                <c:pt idx="46">
                  <c:v>18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543.2581612235631</c:v>
                </c:pt>
                <c:pt idx="43">
                  <c:v>1622.1133897599348</c:v>
                </c:pt>
                <c:pt idx="44">
                  <c:v>1702.5957377485386</c:v>
                </c:pt>
                <c:pt idx="45">
                  <c:v>1785.046154493738</c:v>
                </c:pt>
                <c:pt idx="46">
                  <c:v>1869.5578550854398</c:v>
                </c:pt>
                <c:pt idx="47">
                  <c:v>1955.6873424658693</c:v>
                </c:pt>
                <c:pt idx="48">
                  <c:v>2043.4364706408157</c:v>
                </c:pt>
                <c:pt idx="49">
                  <c:v>2132.481732789277</c:v>
                </c:pt>
                <c:pt idx="50">
                  <c:v>2222.6531201981543</c:v>
                </c:pt>
                <c:pt idx="51">
                  <c:v>2314.1407432017081</c:v>
                </c:pt>
                <c:pt idx="52">
                  <c:v>2406.6632189619736</c:v>
                </c:pt>
                <c:pt idx="53">
                  <c:v>2500.175309338867</c:v>
                </c:pt>
                <c:pt idx="54">
                  <c:v>2594.921957829868</c:v>
                </c:pt>
                <c:pt idx="55">
                  <c:v>2690.5587025102059</c:v>
                </c:pt>
                <c:pt idx="56">
                  <c:v>2786.9706916999066</c:v>
                </c:pt>
                <c:pt idx="57">
                  <c:v>2884.242466714094</c:v>
                </c:pt>
                <c:pt idx="58">
                  <c:v>2982.217182421201</c:v>
                </c:pt>
                <c:pt idx="59">
                  <c:v>3080.7668221845597</c:v>
                </c:pt>
                <c:pt idx="60">
                  <c:v>3179.9113476912962</c:v>
                </c:pt>
                <c:pt idx="61">
                  <c:v>3279.6085170398355</c:v>
                </c:pt>
                <c:pt idx="62">
                  <c:v>3379.7020710260299</c:v>
                </c:pt>
                <c:pt idx="63">
                  <c:v>3480.0862988517893</c:v>
                </c:pt>
                <c:pt idx="64">
                  <c:v>3580.755238694444</c:v>
                </c:pt>
                <c:pt idx="65">
                  <c:v>3681.5188100953724</c:v>
                </c:pt>
                <c:pt idx="66">
                  <c:v>3782.3193945128141</c:v>
                </c:pt>
                <c:pt idx="67">
                  <c:v>3883.2031785335253</c:v>
                </c:pt>
                <c:pt idx="68">
                  <c:v>3983.9534557199986</c:v>
                </c:pt>
                <c:pt idx="69">
                  <c:v>4084.52144465523</c:v>
                </c:pt>
                <c:pt idx="70">
                  <c:v>4184.8216148296342</c:v>
                </c:pt>
                <c:pt idx="71">
                  <c:v>4284.7688331741811</c:v>
                </c:pt>
                <c:pt idx="72">
                  <c:v>4384.2803277628554</c:v>
                </c:pt>
                <c:pt idx="73">
                  <c:v>4483.2756618134026</c:v>
                </c:pt>
                <c:pt idx="74">
                  <c:v>4581.6760813577175</c:v>
                </c:pt>
                <c:pt idx="75">
                  <c:v>4679.4045579496124</c:v>
                </c:pt>
                <c:pt idx="76">
                  <c:v>4776.3860472522947</c:v>
                </c:pt>
                <c:pt idx="77">
                  <c:v>4872.5477205665102</c:v>
                </c:pt>
                <c:pt idx="78">
                  <c:v>4967.8193599010947</c:v>
                </c:pt>
                <c:pt idx="79">
                  <c:v>5062.1335899505029</c:v>
                </c:pt>
                <c:pt idx="80">
                  <c:v>5155.4259852091891</c:v>
                </c:pt>
                <c:pt idx="81">
                  <c:v>5247.6351743262967</c:v>
                </c:pt>
                <c:pt idx="82">
                  <c:v>5338.7029129476932</c:v>
                </c:pt>
                <c:pt idx="83">
                  <c:v>5428.5741322358881</c:v>
                </c:pt>
                <c:pt idx="84">
                  <c:v>5517.1970318111025</c:v>
                </c:pt>
                <c:pt idx="85">
                  <c:v>5604.5231560915454</c:v>
                </c:pt>
                <c:pt idx="86">
                  <c:v>5690.5074287195712</c:v>
                </c:pt>
                <c:pt idx="87">
                  <c:v>5775.1081915791274</c:v>
                </c:pt>
                <c:pt idx="88">
                  <c:v>5858.2872369770712</c:v>
                </c:pt>
                <c:pt idx="89">
                  <c:v>5940.0097955527372</c:v>
                </c:pt>
                <c:pt idx="90">
                  <c:v>6020.2445046587072</c:v>
                </c:pt>
                <c:pt idx="91">
                  <c:v>6098.9634017628523</c:v>
                </c:pt>
                <c:pt idx="92">
                  <c:v>6176.1418872984768</c:v>
                </c:pt>
                <c:pt idx="93">
                  <c:v>6251.7586648879833</c:v>
                </c:pt>
                <c:pt idx="94">
                  <c:v>6325.7956921512887</c:v>
                </c:pt>
                <c:pt idx="95">
                  <c:v>6398.23811273241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544.8395817847063</c:v>
                </c:pt>
                <c:pt idx="43">
                  <c:v>1625.9094044721246</c:v>
                </c:pt>
                <c:pt idx="44">
                  <c:v>1709.3143093706376</c:v>
                </c:pt>
                <c:pt idx="45">
                  <c:v>1795.4673313670708</c:v>
                </c:pt>
                <c:pt idx="46">
                  <c:v>1884.5312901194129</c:v>
                </c:pt>
                <c:pt idx="47">
                  <c:v>1976.1285518269372</c:v>
                </c:pt>
                <c:pt idx="48">
                  <c:v>2070.3181631537618</c:v>
                </c:pt>
                <c:pt idx="49">
                  <c:v>2166.8275732118273</c:v>
                </c:pt>
                <c:pt idx="50">
                  <c:v>2265.5308252029436</c:v>
                </c:pt>
                <c:pt idx="51">
                  <c:v>2366.6561060033318</c:v>
                </c:pt>
                <c:pt idx="52">
                  <c:v>2469.9560687765943</c:v>
                </c:pt>
                <c:pt idx="53">
                  <c:v>2575.4135016775417</c:v>
                </c:pt>
                <c:pt idx="54">
                  <c:v>2683.2960883164496</c:v>
                </c:pt>
                <c:pt idx="55">
                  <c:v>2793.2770608915944</c:v>
                </c:pt>
                <c:pt idx="56">
                  <c:v>2905.2538396816399</c:v>
                </c:pt>
                <c:pt idx="57">
                  <c:v>3019.3176347657527</c:v>
                </c:pt>
                <c:pt idx="58">
                  <c:v>3135.3136075117145</c:v>
                </c:pt>
                <c:pt idx="59">
                  <c:v>3253.1109092155334</c:v>
                </c:pt>
                <c:pt idx="60">
                  <c:v>3372.7208605434398</c:v>
                </c:pt>
                <c:pt idx="61">
                  <c:v>3494.0869271464117</c:v>
                </c:pt>
                <c:pt idx="62">
                  <c:v>3617.0334839445732</c:v>
                </c:pt>
                <c:pt idx="63">
                  <c:v>3741.429836993329</c:v>
                </c:pt>
                <c:pt idx="64">
                  <c:v>3867.2396307764161</c:v>
                </c:pt>
                <c:pt idx="65">
                  <c:v>3994.2391408390213</c:v>
                </c:pt>
                <c:pt idx="66">
                  <c:v>4122.3332807188499</c:v>
                </c:pt>
                <c:pt idx="67">
                  <c:v>4251.5254535509694</c:v>
                </c:pt>
                <c:pt idx="68">
                  <c:v>4381.5519174932342</c:v>
                </c:pt>
                <c:pt idx="69">
                  <c:v>4512.3123180856001</c:v>
                </c:pt>
                <c:pt idx="70">
                  <c:v>4643.6656743204649</c:v>
                </c:pt>
                <c:pt idx="71">
                  <c:v>4775.4679191398736</c:v>
                </c:pt>
                <c:pt idx="72">
                  <c:v>4907.5749084595118</c:v>
                </c:pt>
                <c:pt idx="73">
                  <c:v>5039.842654003638</c:v>
                </c:pt>
                <c:pt idx="74">
                  <c:v>5172.1266930351867</c:v>
                </c:pt>
                <c:pt idx="75">
                  <c:v>5304.2824520078211</c:v>
                </c:pt>
                <c:pt idx="76">
                  <c:v>5436.165919670746</c:v>
                </c:pt>
                <c:pt idx="77">
                  <c:v>5567.6342835452297</c:v>
                </c:pt>
                <c:pt idx="78">
                  <c:v>5698.5468059331088</c:v>
                </c:pt>
                <c:pt idx="79">
                  <c:v>5828.7654720476612</c:v>
                </c:pt>
                <c:pt idx="80">
                  <c:v>5958.1554606255677</c:v>
                </c:pt>
                <c:pt idx="81">
                  <c:v>6086.5856042207288</c:v>
                </c:pt>
                <c:pt idx="82">
                  <c:v>6213.9288008191052</c:v>
                </c:pt>
                <c:pt idx="83">
                  <c:v>6340.0623826053443</c:v>
                </c:pt>
                <c:pt idx="84">
                  <c:v>6464.8685292143127</c:v>
                </c:pt>
                <c:pt idx="85">
                  <c:v>6588.2346434119499</c:v>
                </c:pt>
                <c:pt idx="86">
                  <c:v>6710.0536525593352</c:v>
                </c:pt>
                <c:pt idx="87">
                  <c:v>6830.2242955279262</c:v>
                </c:pt>
                <c:pt idx="88">
                  <c:v>6948.6513805922541</c:v>
                </c:pt>
                <c:pt idx="89">
                  <c:v>7065.245961430549</c:v>
                </c:pt>
                <c:pt idx="90">
                  <c:v>7179.9254628713443</c:v>
                </c:pt>
                <c:pt idx="91">
                  <c:v>7292.6138189075191</c:v>
                </c:pt>
                <c:pt idx="92">
                  <c:v>7403.2415457456218</c:v>
                </c:pt>
                <c:pt idx="93">
                  <c:v>7511.7457613662928</c:v>
                </c:pt>
                <c:pt idx="94">
                  <c:v>7618.0701974401454</c:v>
                </c:pt>
                <c:pt idx="95">
                  <c:v>7722.16516488916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546.4310924335509</c:v>
                </c:pt>
                <c:pt idx="43">
                  <c:v>1629.7418320181159</c:v>
                </c:pt>
                <c:pt idx="44">
                  <c:v>1716.1226652153559</c:v>
                </c:pt>
                <c:pt idx="45">
                  <c:v>1806.0716569329315</c:v>
                </c:pt>
                <c:pt idx="46">
                  <c:v>1899.8360647198085</c:v>
                </c:pt>
                <c:pt idx="47">
                  <c:v>1997.1206568234632</c:v>
                </c:pt>
                <c:pt idx="48">
                  <c:v>2098.0597397933843</c:v>
                </c:pt>
                <c:pt idx="49">
                  <c:v>2202.4511008740324</c:v>
                </c:pt>
                <c:pt idx="50">
                  <c:v>2310.2332239611824</c:v>
                </c:pt>
                <c:pt idx="51">
                  <c:v>2421.6935102309512</c:v>
                </c:pt>
                <c:pt idx="52">
                  <c:v>2536.6402072418091</c:v>
                </c:pt>
                <c:pt idx="53">
                  <c:v>2655.1056923444953</c:v>
                </c:pt>
                <c:pt idx="54">
                  <c:v>2777.4016293527065</c:v>
                </c:pt>
                <c:pt idx="55">
                  <c:v>2903.2394908970646</c:v>
                </c:pt>
                <c:pt idx="56">
                  <c:v>3032.5485894069116</c:v>
                </c:pt>
                <c:pt idx="57">
                  <c:v>3165.4450481043559</c:v>
                </c:pt>
                <c:pt idx="58">
                  <c:v>3301.792701468119</c:v>
                </c:pt>
                <c:pt idx="59">
                  <c:v>3441.4726376690005</c:v>
                </c:pt>
                <c:pt idx="60">
                  <c:v>3584.4998881612382</c:v>
                </c:pt>
                <c:pt idx="61">
                  <c:v>3730.8132916266882</c:v>
                </c:pt>
                <c:pt idx="62">
                  <c:v>3880.2245376021556</c:v>
                </c:pt>
                <c:pt idx="63">
                  <c:v>4032.5814922647251</c:v>
                </c:pt>
                <c:pt idx="64">
                  <c:v>4187.8176108900643</c:v>
                </c:pt>
                <c:pt idx="65">
                  <c:v>4345.6725754810777</c:v>
                </c:pt>
                <c:pt idx="66">
                  <c:v>4506.0076284373008</c:v>
                </c:pt>
                <c:pt idx="67">
                  <c:v>4668.773473958362</c:v>
                </c:pt>
                <c:pt idx="68">
                  <c:v>4833.6457957695138</c:v>
                </c:pt>
                <c:pt idx="69">
                  <c:v>5000.4555673508385</c:v>
                </c:pt>
                <c:pt idx="70">
                  <c:v>5168.9858626670866</c:v>
                </c:pt>
                <c:pt idx="71">
                  <c:v>5339.0099552113606</c:v>
                </c:pt>
                <c:pt idx="72">
                  <c:v>5510.2957360709843</c:v>
                </c:pt>
                <c:pt idx="73">
                  <c:v>5682.60643112447</c:v>
                </c:pt>
                <c:pt idx="74">
                  <c:v>5855.70020441002</c:v>
                </c:pt>
                <c:pt idx="75">
                  <c:v>6029.3311576867254</c:v>
                </c:pt>
                <c:pt idx="76">
                  <c:v>6203.2507825295625</c:v>
                </c:pt>
                <c:pt idx="77">
                  <c:v>6377.2093851009013</c:v>
                </c:pt>
                <c:pt idx="78">
                  <c:v>6550.9578605121415</c:v>
                </c:pt>
                <c:pt idx="79">
                  <c:v>6724.2491689871767</c:v>
                </c:pt>
                <c:pt idx="80">
                  <c:v>6896.8395755428164</c:v>
                </c:pt>
                <c:pt idx="81">
                  <c:v>7068.4898687164205</c:v>
                </c:pt>
                <c:pt idx="82">
                  <c:v>7238.9665024077412</c:v>
                </c:pt>
                <c:pt idx="83">
                  <c:v>7408.0426596233892</c:v>
                </c:pt>
                <c:pt idx="84">
                  <c:v>7575.499342943016</c:v>
                </c:pt>
                <c:pt idx="85">
                  <c:v>7741.1263796966905</c:v>
                </c:pt>
                <c:pt idx="86">
                  <c:v>7904.7232878062687</c:v>
                </c:pt>
                <c:pt idx="87">
                  <c:v>8066.1000745542897</c:v>
                </c:pt>
                <c:pt idx="88">
                  <c:v>8225.0779480989695</c:v>
                </c:pt>
                <c:pt idx="89">
                  <c:v>8381.4898681832965</c:v>
                </c:pt>
                <c:pt idx="90">
                  <c:v>8535.1809750924876</c:v>
                </c:pt>
                <c:pt idx="91">
                  <c:v>8686.0089813959858</c:v>
                </c:pt>
                <c:pt idx="92">
                  <c:v>8833.84442306446</c:v>
                </c:pt>
                <c:pt idx="93">
                  <c:v>8978.5707869692596</c:v>
                </c:pt>
                <c:pt idx="94">
                  <c:v>9120.0845776801143</c:v>
                </c:pt>
                <c:pt idx="95">
                  <c:v>9258.2952754385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24</c:v>
                </c:pt>
                <c:pt idx="1">
                  <c:v>25</c:v>
                </c:pt>
                <c:pt idx="2">
                  <c:v>29</c:v>
                </c:pt>
                <c:pt idx="3">
                  <c:v>31</c:v>
                </c:pt>
                <c:pt idx="4">
                  <c:v>32</c:v>
                </c:pt>
                <c:pt idx="5">
                  <c:v>34</c:v>
                </c:pt>
                <c:pt idx="6">
                  <c:v>40</c:v>
                </c:pt>
                <c:pt idx="7">
                  <c:v>44</c:v>
                </c:pt>
                <c:pt idx="8">
                  <c:v>46</c:v>
                </c:pt>
                <c:pt idx="9">
                  <c:v>49</c:v>
                </c:pt>
                <c:pt idx="10">
                  <c:v>54</c:v>
                </c:pt>
                <c:pt idx="11">
                  <c:v>58</c:v>
                </c:pt>
                <c:pt idx="12">
                  <c:v>61</c:v>
                </c:pt>
                <c:pt idx="13">
                  <c:v>64</c:v>
                </c:pt>
                <c:pt idx="14">
                  <c:v>75</c:v>
                </c:pt>
                <c:pt idx="15">
                  <c:v>80</c:v>
                </c:pt>
                <c:pt idx="16">
                  <c:v>81</c:v>
                </c:pt>
                <c:pt idx="17">
                  <c:v>90</c:v>
                </c:pt>
                <c:pt idx="18">
                  <c:v>97</c:v>
                </c:pt>
                <c:pt idx="19">
                  <c:v>105</c:v>
                </c:pt>
                <c:pt idx="20">
                  <c:v>112</c:v>
                </c:pt>
                <c:pt idx="21">
                  <c:v>128</c:v>
                </c:pt>
                <c:pt idx="22">
                  <c:v>135</c:v>
                </c:pt>
                <c:pt idx="23">
                  <c:v>144</c:v>
                </c:pt>
                <c:pt idx="24">
                  <c:v>155</c:v>
                </c:pt>
                <c:pt idx="25">
                  <c:v>174</c:v>
                </c:pt>
                <c:pt idx="26">
                  <c:v>188</c:v>
                </c:pt>
                <c:pt idx="27">
                  <c:v>201</c:v>
                </c:pt>
                <c:pt idx="28">
                  <c:v>221</c:v>
                </c:pt>
                <c:pt idx="29">
                  <c:v>237</c:v>
                </c:pt>
                <c:pt idx="30">
                  <c:v>250</c:v>
                </c:pt>
                <c:pt idx="31">
                  <c:v>276</c:v>
                </c:pt>
                <c:pt idx="32">
                  <c:v>297</c:v>
                </c:pt>
                <c:pt idx="33">
                  <c:v>317</c:v>
                </c:pt>
                <c:pt idx="34">
                  <c:v>353</c:v>
                </c:pt>
                <c:pt idx="35">
                  <c:v>383</c:v>
                </c:pt>
                <c:pt idx="36">
                  <c:v>406</c:v>
                </c:pt>
                <c:pt idx="37">
                  <c:v>430</c:v>
                </c:pt>
                <c:pt idx="38">
                  <c:v>481</c:v>
                </c:pt>
                <c:pt idx="39">
                  <c:v>535</c:v>
                </c:pt>
                <c:pt idx="40">
                  <c:v>588</c:v>
                </c:pt>
                <c:pt idx="41">
                  <c:v>636</c:v>
                </c:pt>
                <c:pt idx="42">
                  <c:v>687</c:v>
                </c:pt>
                <c:pt idx="43">
                  <c:v>709</c:v>
                </c:pt>
                <c:pt idx="44">
                  <c:v>740</c:v>
                </c:pt>
                <c:pt idx="45">
                  <c:v>787</c:v>
                </c:pt>
                <c:pt idx="46">
                  <c:v>8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671.20523564567623</c:v>
                </c:pt>
                <c:pt idx="43">
                  <c:v>710.20714465855463</c:v>
                </c:pt>
                <c:pt idx="44">
                  <c:v>750.02637191461986</c:v>
                </c:pt>
                <c:pt idx="45">
                  <c:v>790.83192276442662</c:v>
                </c:pt>
                <c:pt idx="46">
                  <c:v>832.67007688377032</c:v>
                </c:pt>
                <c:pt idx="47">
                  <c:v>875.3153358982247</c:v>
                </c:pt>
                <c:pt idx="48">
                  <c:v>918.76518626099073</c:v>
                </c:pt>
                <c:pt idx="49">
                  <c:v>962.85384284075917</c:v>
                </c:pt>
                <c:pt idx="50">
                  <c:v>1007.5018421623747</c:v>
                </c:pt>
                <c:pt idx="51">
                  <c:v>1052.8035131176707</c:v>
                </c:pt>
                <c:pt idx="52">
                  <c:v>1098.61468933266</c:v>
                </c:pt>
                <c:pt idx="53">
                  <c:v>1144.9151376905074</c:v>
                </c:pt>
                <c:pt idx="54">
                  <c:v>1191.8239623221575</c:v>
                </c:pt>
                <c:pt idx="55">
                  <c:v>1239.1709516778451</c:v>
                </c:pt>
                <c:pt idx="56">
                  <c:v>1286.8989365677269</c:v>
                </c:pt>
                <c:pt idx="57">
                  <c:v>1335.0500325030866</c:v>
                </c:pt>
                <c:pt idx="58">
                  <c:v>1383.5473968308984</c:v>
                </c:pt>
                <c:pt idx="59">
                  <c:v>1432.3251299444955</c:v>
                </c:pt>
                <c:pt idx="60">
                  <c:v>1481.391298574998</c:v>
                </c:pt>
                <c:pt idx="61">
                  <c:v>1530.7297648669237</c:v>
                </c:pt>
                <c:pt idx="62">
                  <c:v>1580.2603787013363</c:v>
                </c:pt>
                <c:pt idx="63">
                  <c:v>1629.9309574649587</c:v>
                </c:pt>
                <c:pt idx="64">
                  <c:v>1679.7404791946553</c:v>
                </c:pt>
                <c:pt idx="65">
                  <c:v>1729.595017876097</c:v>
                </c:pt>
                <c:pt idx="66">
                  <c:v>1779.465175932459</c:v>
                </c:pt>
                <c:pt idx="67">
                  <c:v>1829.3712113808106</c:v>
                </c:pt>
                <c:pt idx="68">
                  <c:v>1879.208554810941</c:v>
                </c:pt>
                <c:pt idx="69">
                  <c:v>1928.9523644813435</c:v>
                </c:pt>
                <c:pt idx="70">
                  <c:v>1978.5603602553092</c:v>
                </c:pt>
                <c:pt idx="71">
                  <c:v>2027.9904559761587</c:v>
                </c:pt>
                <c:pt idx="72">
                  <c:v>2077.2017397342611</c:v>
                </c:pt>
                <c:pt idx="73">
                  <c:v>2126.1544637947131</c:v>
                </c:pt>
                <c:pt idx="74">
                  <c:v>2174.8097239394747</c:v>
                </c:pt>
                <c:pt idx="75">
                  <c:v>2223.1294794578935</c:v>
                </c:pt>
                <c:pt idx="76">
                  <c:v>2271.0766809142988</c:v>
                </c:pt>
                <c:pt idx="77">
                  <c:v>2318.6153843592856</c:v>
                </c:pt>
                <c:pt idx="78">
                  <c:v>2365.7109440536528</c:v>
                </c:pt>
                <c:pt idx="79">
                  <c:v>2412.330127388409</c:v>
                </c:pt>
                <c:pt idx="80">
                  <c:v>2458.4411675235337</c:v>
                </c:pt>
                <c:pt idx="81">
                  <c:v>2504.013814804739</c:v>
                </c:pt>
                <c:pt idx="82">
                  <c:v>2549.0193718848504</c:v>
                </c:pt>
                <c:pt idx="83">
                  <c:v>2593.4307167369475</c:v>
                </c:pt>
                <c:pt idx="84">
                  <c:v>2637.2223485388654</c:v>
                </c:pt>
                <c:pt idx="85">
                  <c:v>2680.3704246801944</c:v>
                </c:pt>
                <c:pt idx="86">
                  <c:v>2722.8527766709726</c:v>
                </c:pt>
                <c:pt idx="87">
                  <c:v>2764.6489288460016</c:v>
                </c:pt>
                <c:pt idx="88">
                  <c:v>2805.7401141298869</c:v>
                </c:pt>
                <c:pt idx="89">
                  <c:v>2846.1092675219656</c:v>
                </c:pt>
                <c:pt idx="90">
                  <c:v>2885.741009333175</c:v>
                </c:pt>
                <c:pt idx="91">
                  <c:v>2924.6216420038336</c:v>
                </c:pt>
                <c:pt idx="92">
                  <c:v>2962.7391309743389</c:v>
                </c:pt>
                <c:pt idx="93">
                  <c:v>3000.0830742488101</c:v>
                </c:pt>
                <c:pt idx="94">
                  <c:v>3036.6446774838655</c:v>
                </c:pt>
                <c:pt idx="95">
                  <c:v>3072.41672019062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671.99197068186345</c:v>
                </c:pt>
                <c:pt idx="43">
                  <c:v>712.0956256658726</c:v>
                </c:pt>
                <c:pt idx="44">
                  <c:v>753.36875867606409</c:v>
                </c:pt>
                <c:pt idx="45">
                  <c:v>796.01617421186927</c:v>
                </c:pt>
                <c:pt idx="46">
                  <c:v>840.118707809684</c:v>
                </c:pt>
                <c:pt idx="47">
                  <c:v>885.48351621858228</c:v>
                </c:pt>
                <c:pt idx="48">
                  <c:v>932.13632472550967</c:v>
                </c:pt>
                <c:pt idx="49">
                  <c:v>979.93644419853899</c:v>
                </c:pt>
                <c:pt idx="50">
                  <c:v>1028.8260219228766</c:v>
                </c:pt>
                <c:pt idx="51">
                  <c:v>1078.9180155838403</c:v>
                </c:pt>
                <c:pt idx="52">
                  <c:v>1130.0848982084881</c:v>
                </c:pt>
                <c:pt idx="53">
                  <c:v>1182.3200638734515</c:v>
                </c:pt>
                <c:pt idx="54">
                  <c:v>1235.7536397304625</c:v>
                </c:pt>
                <c:pt idx="55">
                  <c:v>1290.2239240198803</c:v>
                </c:pt>
                <c:pt idx="56">
                  <c:v>1345.6795681051071</c:v>
                </c:pt>
                <c:pt idx="57">
                  <c:v>1402.1657410457508</c:v>
                </c:pt>
                <c:pt idx="58">
                  <c:v>1459.6063578012204</c:v>
                </c:pt>
                <c:pt idx="59">
                  <c:v>1517.9338855122678</c:v>
                </c:pt>
                <c:pt idx="60">
                  <c:v>1577.1518874156004</c:v>
                </c:pt>
                <c:pt idx="61">
                  <c:v>1637.2369327921258</c:v>
                </c:pt>
                <c:pt idx="62">
                  <c:v>1698.0990964532361</c:v>
                </c:pt>
                <c:pt idx="63">
                  <c:v>1759.6736373961858</c:v>
                </c:pt>
                <c:pt idx="64">
                  <c:v>1821.9442942705548</c:v>
                </c:pt>
                <c:pt idx="65">
                  <c:v>1884.8003157858011</c:v>
                </c:pt>
                <c:pt idx="66">
                  <c:v>1948.1935909061874</c:v>
                </c:pt>
                <c:pt idx="67">
                  <c:v>2012.1230437995991</c:v>
                </c:pt>
                <c:pt idx="68">
                  <c:v>2076.4606727586715</c:v>
                </c:pt>
                <c:pt idx="69">
                  <c:v>2141.1559760990249</c:v>
                </c:pt>
                <c:pt idx="70">
                  <c:v>2206.1391094777364</c:v>
                </c:pt>
                <c:pt idx="71">
                  <c:v>2271.3387078408896</c:v>
                </c:pt>
                <c:pt idx="72">
                  <c:v>2336.6833874533986</c:v>
                </c:pt>
                <c:pt idx="73">
                  <c:v>2402.1018654913896</c:v>
                </c:pt>
                <c:pt idx="74">
                  <c:v>2467.5226513771249</c:v>
                </c:pt>
                <c:pt idx="75">
                  <c:v>2532.8742255261013</c:v>
                </c:pt>
                <c:pt idx="76">
                  <c:v>2598.08537251089</c:v>
                </c:pt>
                <c:pt idx="77">
                  <c:v>2663.0854957145839</c:v>
                </c:pt>
                <c:pt idx="78">
                  <c:v>2727.8050469330383</c:v>
                </c:pt>
                <c:pt idx="79">
                  <c:v>2792.1758473453665</c:v>
                </c:pt>
                <c:pt idx="80">
                  <c:v>2856.1313198284611</c:v>
                </c:pt>
                <c:pt idx="81">
                  <c:v>2919.6067161181763</c:v>
                </c:pt>
                <c:pt idx="82">
                  <c:v>2982.5393188144744</c:v>
                </c:pt>
                <c:pt idx="83">
                  <c:v>3044.8686220642439</c:v>
                </c:pt>
                <c:pt idx="84">
                  <c:v>3106.5365353081506</c:v>
                </c:pt>
                <c:pt idx="85">
                  <c:v>3167.4875675172266</c:v>
                </c:pt>
                <c:pt idx="86">
                  <c:v>3227.66897408357</c:v>
                </c:pt>
                <c:pt idx="87">
                  <c:v>3287.030897188698</c:v>
                </c:pt>
                <c:pt idx="88">
                  <c:v>3345.5264923471855</c:v>
                </c:pt>
                <c:pt idx="89">
                  <c:v>3403.1120138620208</c:v>
                </c:pt>
                <c:pt idx="90">
                  <c:v>3459.746874609436</c:v>
                </c:pt>
                <c:pt idx="91">
                  <c:v>3515.3937135254528</c:v>
                </c:pt>
                <c:pt idx="92">
                  <c:v>3570.0184298045374</c:v>
                </c:pt>
                <c:pt idx="93">
                  <c:v>3623.5901904763869</c:v>
                </c:pt>
                <c:pt idx="94">
                  <c:v>3676.0814346143115</c:v>
                </c:pt>
                <c:pt idx="95">
                  <c:v>3727.46785518893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672.78371722756083</c:v>
                </c:pt>
                <c:pt idx="43">
                  <c:v>714.00220101010177</c:v>
                </c:pt>
                <c:pt idx="44">
                  <c:v>756.75577381888252</c:v>
                </c:pt>
                <c:pt idx="45">
                  <c:v>801.29147588337912</c:v>
                </c:pt>
                <c:pt idx="46">
                  <c:v>847.73207112843261</c:v>
                </c:pt>
                <c:pt idx="47">
                  <c:v>895.92558764490013</c:v>
                </c:pt>
                <c:pt idx="48">
                  <c:v>945.93496074281006</c:v>
                </c:pt>
                <c:pt idx="49">
                  <c:v>997.65421639213787</c:v>
                </c:pt>
                <c:pt idx="50">
                  <c:v>1051.0572241957166</c:v>
                </c:pt>
                <c:pt idx="51">
                  <c:v>1106.2860454674467</c:v>
                </c:pt>
                <c:pt idx="52">
                  <c:v>1163.2404664454361</c:v>
                </c:pt>
                <c:pt idx="53">
                  <c:v>1221.9381735817174</c:v>
                </c:pt>
                <c:pt idx="54">
                  <c:v>1282.5308110683989</c:v>
                </c:pt>
                <c:pt idx="55">
                  <c:v>1344.8753252274664</c:v>
                </c:pt>
                <c:pt idx="56">
                  <c:v>1408.9358564615113</c:v>
                </c:pt>
                <c:pt idx="57">
                  <c:v>1474.7696020616568</c:v>
                </c:pt>
                <c:pt idx="58">
                  <c:v>1542.3094170410027</c:v>
                </c:pt>
                <c:pt idx="59">
                  <c:v>1611.4933679317005</c:v>
                </c:pt>
                <c:pt idx="60">
                  <c:v>1682.32654045095</c:v>
                </c:pt>
                <c:pt idx="61">
                  <c:v>1754.782898369215</c:v>
                </c:pt>
                <c:pt idx="62">
                  <c:v>1828.7659432633152</c:v>
                </c:pt>
                <c:pt idx="63">
                  <c:v>1904.2000179995625</c:v>
                </c:pt>
                <c:pt idx="64">
                  <c:v>1981.0536052156444</c:v>
                </c:pt>
                <c:pt idx="65">
                  <c:v>2059.1975475124254</c:v>
                </c:pt>
                <c:pt idx="66">
                  <c:v>2138.5618285412274</c:v>
                </c:pt>
                <c:pt idx="67">
                  <c:v>2219.1190109528234</c:v>
                </c:pt>
                <c:pt idx="68">
                  <c:v>2300.7108432486675</c:v>
                </c:pt>
                <c:pt idx="69">
                  <c:v>2383.2525893115962</c:v>
                </c:pt>
                <c:pt idx="70">
                  <c:v>2466.6365918219317</c:v>
                </c:pt>
                <c:pt idx="71">
                  <c:v>2550.7503658579117</c:v>
                </c:pt>
                <c:pt idx="72">
                  <c:v>2635.4788052299323</c:v>
                </c:pt>
                <c:pt idx="73">
                  <c:v>2720.7045452324287</c:v>
                </c:pt>
                <c:pt idx="74">
                  <c:v>2806.3077723523502</c:v>
                </c:pt>
                <c:pt idx="75">
                  <c:v>2892.1667188076576</c:v>
                </c:pt>
                <c:pt idx="76">
                  <c:v>2978.1583825077605</c:v>
                </c:pt>
                <c:pt idx="77">
                  <c:v>3064.1592326201326</c:v>
                </c:pt>
                <c:pt idx="78">
                  <c:v>3150.0460829295944</c:v>
                </c:pt>
                <c:pt idx="79">
                  <c:v>3235.6968229980621</c:v>
                </c:pt>
                <c:pt idx="80">
                  <c:v>3320.9910309075362</c:v>
                </c:pt>
                <c:pt idx="81">
                  <c:v>3405.8105751172066</c:v>
                </c:pt>
                <c:pt idx="82">
                  <c:v>3490.0401765264965</c:v>
                </c:pt>
                <c:pt idx="83">
                  <c:v>3573.5679315144653</c:v>
                </c:pt>
                <c:pt idx="84">
                  <c:v>3656.2858492429518</c:v>
                </c:pt>
                <c:pt idx="85">
                  <c:v>3738.0903453516335</c:v>
                </c:pt>
                <c:pt idx="86">
                  <c:v>3818.8826656095407</c:v>
                </c:pt>
                <c:pt idx="87">
                  <c:v>3898.5692771175654</c:v>
                </c:pt>
                <c:pt idx="88">
                  <c:v>3977.0622168890004</c:v>
                </c:pt>
                <c:pt idx="89">
                  <c:v>4054.2793599885517</c:v>
                </c:pt>
                <c:pt idx="90">
                  <c:v>4130.1446263173639</c:v>
                </c:pt>
                <c:pt idx="91">
                  <c:v>4204.5881711330821</c:v>
                </c:pt>
                <c:pt idx="92">
                  <c:v>4277.5465044754565</c:v>
                </c:pt>
                <c:pt idx="93">
                  <c:v>4348.9625492570376</c:v>
                </c:pt>
                <c:pt idx="94">
                  <c:v>4418.7856699495496</c:v>
                </c:pt>
                <c:pt idx="95">
                  <c:v>4486.97164830044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6</c:v>
                </c:pt>
                <c:pt idx="1">
                  <c:v>37</c:v>
                </c:pt>
                <c:pt idx="2">
                  <c:v>38</c:v>
                </c:pt>
                <c:pt idx="3">
                  <c:v>40</c:v>
                </c:pt>
                <c:pt idx="4">
                  <c:v>41</c:v>
                </c:pt>
                <c:pt idx="5">
                  <c:v>44</c:v>
                </c:pt>
                <c:pt idx="6">
                  <c:v>50</c:v>
                </c:pt>
                <c:pt idx="7">
                  <c:v>53</c:v>
                </c:pt>
                <c:pt idx="8">
                  <c:v>54</c:v>
                </c:pt>
                <c:pt idx="9">
                  <c:v>56</c:v>
                </c:pt>
                <c:pt idx="10">
                  <c:v>63</c:v>
                </c:pt>
                <c:pt idx="11">
                  <c:v>68</c:v>
                </c:pt>
                <c:pt idx="12">
                  <c:v>71</c:v>
                </c:pt>
                <c:pt idx="13">
                  <c:v>75</c:v>
                </c:pt>
                <c:pt idx="14">
                  <c:v>81</c:v>
                </c:pt>
                <c:pt idx="15">
                  <c:v>91</c:v>
                </c:pt>
                <c:pt idx="16">
                  <c:v>97</c:v>
                </c:pt>
                <c:pt idx="17">
                  <c:v>109</c:v>
                </c:pt>
                <c:pt idx="18">
                  <c:v>116</c:v>
                </c:pt>
                <c:pt idx="19">
                  <c:v>133</c:v>
                </c:pt>
                <c:pt idx="20">
                  <c:v>142</c:v>
                </c:pt>
                <c:pt idx="21">
                  <c:v>155</c:v>
                </c:pt>
                <c:pt idx="22">
                  <c:v>161</c:v>
                </c:pt>
                <c:pt idx="23">
                  <c:v>171</c:v>
                </c:pt>
                <c:pt idx="24">
                  <c:v>183</c:v>
                </c:pt>
                <c:pt idx="25">
                  <c:v>198</c:v>
                </c:pt>
                <c:pt idx="26">
                  <c:v>225</c:v>
                </c:pt>
                <c:pt idx="27">
                  <c:v>233</c:v>
                </c:pt>
                <c:pt idx="28">
                  <c:v>249</c:v>
                </c:pt>
                <c:pt idx="29">
                  <c:v>278</c:v>
                </c:pt>
                <c:pt idx="30">
                  <c:v>291</c:v>
                </c:pt>
                <c:pt idx="31">
                  <c:v>326</c:v>
                </c:pt>
                <c:pt idx="32">
                  <c:v>356</c:v>
                </c:pt>
                <c:pt idx="33">
                  <c:v>378</c:v>
                </c:pt>
                <c:pt idx="34">
                  <c:v>421</c:v>
                </c:pt>
                <c:pt idx="35">
                  <c:v>448</c:v>
                </c:pt>
                <c:pt idx="36">
                  <c:v>477</c:v>
                </c:pt>
                <c:pt idx="37">
                  <c:v>507</c:v>
                </c:pt>
                <c:pt idx="38">
                  <c:v>549</c:v>
                </c:pt>
                <c:pt idx="39">
                  <c:v>588</c:v>
                </c:pt>
                <c:pt idx="40">
                  <c:v>619</c:v>
                </c:pt>
                <c:pt idx="41">
                  <c:v>661</c:v>
                </c:pt>
                <c:pt idx="42">
                  <c:v>687</c:v>
                </c:pt>
                <c:pt idx="43">
                  <c:v>708</c:v>
                </c:pt>
                <c:pt idx="44">
                  <c:v>746</c:v>
                </c:pt>
                <c:pt idx="45">
                  <c:v>815</c:v>
                </c:pt>
                <c:pt idx="46">
                  <c:v>8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697.69472354041648</c:v>
                </c:pt>
                <c:pt idx="43">
                  <c:v>735.1317018233641</c:v>
                </c:pt>
                <c:pt idx="44">
                  <c:v>773.31155481504925</c:v>
                </c:pt>
                <c:pt idx="45">
                  <c:v>812.39527355751807</c:v>
                </c:pt>
                <c:pt idx="46">
                  <c:v>852.42669848275091</c:v>
                </c:pt>
                <c:pt idx="47">
                  <c:v>893.2097813056705</c:v>
                </c:pt>
                <c:pt idx="48">
                  <c:v>934.75350079240752</c:v>
                </c:pt>
                <c:pt idx="49">
                  <c:v>976.91791093071765</c:v>
                </c:pt>
                <c:pt idx="50">
                  <c:v>1019.6113852759894</c:v>
                </c:pt>
                <c:pt idx="51">
                  <c:v>1062.9234714835143</c:v>
                </c:pt>
                <c:pt idx="52">
                  <c:v>1106.7323709248567</c:v>
                </c:pt>
                <c:pt idx="53">
                  <c:v>1151.0115504877406</c:v>
                </c:pt>
                <c:pt idx="54">
                  <c:v>1195.8821268527292</c:v>
                </c:pt>
                <c:pt idx="55">
                  <c:v>1241.1801874462999</c:v>
                </c:pt>
                <c:pt idx="56">
                  <c:v>1286.8520636164189</c:v>
                </c:pt>
                <c:pt idx="57">
                  <c:v>1332.9371806619297</c:v>
                </c:pt>
                <c:pt idx="58">
                  <c:v>1379.359344622334</c:v>
                </c:pt>
                <c:pt idx="59">
                  <c:v>1426.0638751809879</c:v>
                </c:pt>
                <c:pt idx="60">
                  <c:v>1473.0645135571585</c:v>
                </c:pt>
                <c:pt idx="61">
                  <c:v>1520.3299797941054</c:v>
                </c:pt>
                <c:pt idx="62">
                  <c:v>1567.792850263623</c:v>
                </c:pt>
                <c:pt idx="63">
                  <c:v>1615.4026971220769</c:v>
                </c:pt>
                <c:pt idx="64">
                  <c:v>1663.1521414005379</c:v>
                </c:pt>
                <c:pt idx="65">
                  <c:v>1710.9507334273592</c:v>
                </c:pt>
                <c:pt idx="66">
                  <c:v>1758.7732416154854</c:v>
                </c:pt>
                <c:pt idx="67">
                  <c:v>1806.647697998907</c:v>
                </c:pt>
                <c:pt idx="68">
                  <c:v>1854.4650492249655</c:v>
                </c:pt>
                <c:pt idx="69">
                  <c:v>1902.2038224941309</c:v>
                </c:pt>
                <c:pt idx="70">
                  <c:v>1949.8233565155956</c:v>
                </c:pt>
                <c:pt idx="71">
                  <c:v>1997.2831848109938</c:v>
                </c:pt>
                <c:pt idx="72">
                  <c:v>2044.543946706978</c:v>
                </c:pt>
                <c:pt idx="73">
                  <c:v>2091.5673684126978</c:v>
                </c:pt>
                <c:pt idx="74">
                  <c:v>2138.3159486357872</c:v>
                </c:pt>
                <c:pt idx="75">
                  <c:v>2184.7529815323478</c:v>
                </c:pt>
                <c:pt idx="76">
                  <c:v>2230.8426797801003</c:v>
                </c:pt>
                <c:pt idx="77">
                  <c:v>2276.5502852126906</c:v>
                </c:pt>
                <c:pt idx="78">
                  <c:v>2321.8422627049958</c:v>
                </c:pt>
                <c:pt idx="79">
                  <c:v>2366.6864098724086</c:v>
                </c:pt>
                <c:pt idx="80">
                  <c:v>2411.0519087270404</c:v>
                </c:pt>
                <c:pt idx="81">
                  <c:v>2454.9093756862958</c:v>
                </c:pt>
                <c:pt idx="82">
                  <c:v>2498.2308982948052</c:v>
                </c:pt>
                <c:pt idx="83">
                  <c:v>2540.9900605845633</c:v>
                </c:pt>
                <c:pt idx="84">
                  <c:v>2583.161987398219</c:v>
                </c:pt>
                <c:pt idx="85">
                  <c:v>2624.7233824049936</c:v>
                </c:pt>
                <c:pt idx="86">
                  <c:v>2665.6525470852512</c:v>
                </c:pt>
                <c:pt idx="87">
                  <c:v>2705.9294006559921</c:v>
                </c:pt>
                <c:pt idx="88">
                  <c:v>2745.5354957076702</c:v>
                </c:pt>
                <c:pt idx="89">
                  <c:v>2784.4540137274848</c:v>
                </c:pt>
                <c:pt idx="90">
                  <c:v>2822.6697527419296</c:v>
                </c:pt>
                <c:pt idx="91">
                  <c:v>2860.1691239928205</c:v>
                </c:pt>
                <c:pt idx="92">
                  <c:v>2896.9401360823681</c:v>
                </c:pt>
                <c:pt idx="93">
                  <c:v>2932.9723686499683</c:v>
                </c:pt>
                <c:pt idx="94">
                  <c:v>2968.2569503897744</c:v>
                </c:pt>
                <c:pt idx="95">
                  <c:v>3002.78652720072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698.43474213655691</c:v>
                </c:pt>
                <c:pt idx="43">
                  <c:v>736.90799252835109</c:v>
                </c:pt>
                <c:pt idx="44">
                  <c:v>776.45550469742921</c:v>
                </c:pt>
                <c:pt idx="45">
                  <c:v>817.2721492106956</c:v>
                </c:pt>
                <c:pt idx="46">
                  <c:v>859.43450633374493</c:v>
                </c:pt>
                <c:pt idx="47">
                  <c:v>902.77761010159463</c:v>
                </c:pt>
                <c:pt idx="48">
                  <c:v>947.33770688219818</c:v>
                </c:pt>
                <c:pt idx="49">
                  <c:v>992.99929459857083</c:v>
                </c:pt>
                <c:pt idx="50">
                  <c:v>1039.6920794540968</c:v>
                </c:pt>
                <c:pt idx="51">
                  <c:v>1087.5241675599732</c:v>
                </c:pt>
                <c:pt idx="52">
                  <c:v>1136.3903790745178</c:v>
                </c:pt>
                <c:pt idx="53">
                  <c:v>1186.2780404813011</c:v>
                </c:pt>
                <c:pt idx="54">
                  <c:v>1237.3195939053849</c:v>
                </c:pt>
                <c:pt idx="55">
                  <c:v>1289.3600978629484</c:v>
                </c:pt>
                <c:pt idx="56">
                  <c:v>1342.3522981197279</c:v>
                </c:pt>
                <c:pt idx="57">
                  <c:v>1396.3393639901294</c:v>
                </c:pt>
                <c:pt idx="58">
                  <c:v>1451.2466084211578</c:v>
                </c:pt>
                <c:pt idx="59">
                  <c:v>1507.0185554434406</c:v>
                </c:pt>
                <c:pt idx="60">
                  <c:v>1563.6653860021152</c:v>
                </c:pt>
                <c:pt idx="61">
                  <c:v>1621.1495630451013</c:v>
                </c:pt>
                <c:pt idx="62">
                  <c:v>1679.3949331891451</c:v>
                </c:pt>
                <c:pt idx="63">
                  <c:v>1738.3396838299414</c:v>
                </c:pt>
                <c:pt idx="64">
                  <c:v>1797.9624941957748</c:v>
                </c:pt>
                <c:pt idx="65">
                  <c:v>1858.1573784480711</c:v>
                </c:pt>
                <c:pt idx="66">
                  <c:v>1918.8817459998577</c:v>
                </c:pt>
                <c:pt idx="67">
                  <c:v>1980.1437258170179</c:v>
                </c:pt>
                <c:pt idx="68">
                  <c:v>2041.8123320413217</c:v>
                </c:pt>
                <c:pt idx="69">
                  <c:v>2103.8419657282443</c:v>
                </c:pt>
                <c:pt idx="70">
                  <c:v>2166.1659666536571</c:v>
                </c:pt>
                <c:pt idx="71">
                  <c:v>2228.7161961256907</c:v>
                </c:pt>
                <c:pt idx="72">
                  <c:v>2291.4244330474985</c:v>
                </c:pt>
                <c:pt idx="73">
                  <c:v>2354.2224739944995</c:v>
                </c:pt>
                <c:pt idx="74">
                  <c:v>2417.0418267489963</c:v>
                </c:pt>
                <c:pt idx="75">
                  <c:v>2479.8138855800262</c:v>
                </c:pt>
                <c:pt idx="76">
                  <c:v>2542.4702502248433</c:v>
                </c:pt>
                <c:pt idx="77">
                  <c:v>2604.9430284110249</c:v>
                </c:pt>
                <c:pt idx="78">
                  <c:v>2667.1652604171204</c:v>
                </c:pt>
                <c:pt idx="79">
                  <c:v>2729.0712258227309</c:v>
                </c:pt>
                <c:pt idx="80">
                  <c:v>2790.5966679985554</c:v>
                </c:pt>
                <c:pt idx="81">
                  <c:v>2851.6790138158131</c:v>
                </c:pt>
                <c:pt idx="82">
                  <c:v>2912.2575727930603</c:v>
                </c:pt>
                <c:pt idx="83">
                  <c:v>2972.2737162063922</c:v>
                </c:pt>
                <c:pt idx="84">
                  <c:v>3031.6710748126357</c:v>
                </c:pt>
                <c:pt idx="85">
                  <c:v>3090.3957209258151</c:v>
                </c:pt>
                <c:pt idx="86">
                  <c:v>3148.3963167652873</c:v>
                </c:pt>
                <c:pt idx="87">
                  <c:v>3205.6242543067274</c:v>
                </c:pt>
                <c:pt idx="88">
                  <c:v>3262.0337801036003</c:v>
                </c:pt>
                <c:pt idx="89">
                  <c:v>3317.58208260938</c:v>
                </c:pt>
                <c:pt idx="90">
                  <c:v>3372.2293575649333</c:v>
                </c:pt>
                <c:pt idx="91">
                  <c:v>3425.9388753519893</c:v>
                </c:pt>
                <c:pt idx="92">
                  <c:v>3478.6770202338203</c:v>
                </c:pt>
                <c:pt idx="93">
                  <c:v>3530.4133045940512</c:v>
                </c:pt>
                <c:pt idx="94">
                  <c:v>3581.1203785721636</c:v>
                </c:pt>
                <c:pt idx="95">
                  <c:v>3630.77401634085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699.17950163239243</c:v>
                </c:pt>
                <c:pt idx="43">
                  <c:v>738.7013709633336</c:v>
                </c:pt>
                <c:pt idx="44">
                  <c:v>779.64155849729048</c:v>
                </c:pt>
                <c:pt idx="45">
                  <c:v>822.23487893412585</c:v>
                </c:pt>
                <c:pt idx="46">
                  <c:v>866.59760972284994</c:v>
                </c:pt>
                <c:pt idx="47">
                  <c:v>912.60363386362133</c:v>
                </c:pt>
                <c:pt idx="48">
                  <c:v>960.32495995524664</c:v>
                </c:pt>
                <c:pt idx="49">
                  <c:v>1009.6796546166026</c:v>
                </c:pt>
                <c:pt idx="50">
                  <c:v>1060.6283720891952</c:v>
                </c:pt>
                <c:pt idx="51">
                  <c:v>1113.3077648344681</c:v>
                </c:pt>
                <c:pt idx="52">
                  <c:v>1167.639480807306</c:v>
                </c:pt>
                <c:pt idx="53">
                  <c:v>1223.6349428688295</c:v>
                </c:pt>
                <c:pt idx="54">
                  <c:v>1281.448029262189</c:v>
                </c:pt>
                <c:pt idx="55">
                  <c:v>1340.9425805947926</c:v>
                </c:pt>
                <c:pt idx="56">
                  <c:v>1402.0871561027043</c:v>
                </c:pt>
                <c:pt idx="57">
                  <c:v>1464.9374464465327</c:v>
                </c:pt>
                <c:pt idx="58">
                  <c:v>1529.4283277931193</c:v>
                </c:pt>
                <c:pt idx="59">
                  <c:v>1595.5107103602825</c:v>
                </c:pt>
                <c:pt idx="60">
                  <c:v>1663.1972754365952</c:v>
                </c:pt>
                <c:pt idx="61">
                  <c:v>1732.4490376511076</c:v>
                </c:pt>
                <c:pt idx="62">
                  <c:v>1803.1845270790211</c:v>
                </c:pt>
                <c:pt idx="63">
                  <c:v>1875.3324888054631</c:v>
                </c:pt>
                <c:pt idx="64">
                  <c:v>1948.8580353438269</c:v>
                </c:pt>
                <c:pt idx="65">
                  <c:v>2023.6385323420611</c:v>
                </c:pt>
                <c:pt idx="66">
                  <c:v>2099.6113773009683</c:v>
                </c:pt>
                <c:pt idx="67">
                  <c:v>2176.7603801292535</c:v>
                </c:pt>
                <c:pt idx="68">
                  <c:v>2254.9264805472358</c:v>
                </c:pt>
                <c:pt idx="69">
                  <c:v>2334.0321125012451</c:v>
                </c:pt>
                <c:pt idx="70">
                  <c:v>2413.975151684609</c:v>
                </c:pt>
                <c:pt idx="71">
                  <c:v>2494.6487743938915</c:v>
                </c:pt>
                <c:pt idx="72">
                  <c:v>2575.9435050959987</c:v>
                </c:pt>
                <c:pt idx="73">
                  <c:v>2657.7475379762618</c:v>
                </c:pt>
                <c:pt idx="74">
                  <c:v>2739.9465347471901</c:v>
                </c:pt>
                <c:pt idx="75">
                  <c:v>2822.4240988322044</c:v>
                </c:pt>
                <c:pt idx="76">
                  <c:v>2905.0624606197753</c:v>
                </c:pt>
                <c:pt idx="77">
                  <c:v>2987.7431518220442</c:v>
                </c:pt>
                <c:pt idx="78">
                  <c:v>3070.3478578787685</c:v>
                </c:pt>
                <c:pt idx="79">
                  <c:v>3152.7591163023931</c:v>
                </c:pt>
                <c:pt idx="80">
                  <c:v>3234.8609061789821</c:v>
                </c:pt>
                <c:pt idx="81">
                  <c:v>3316.5392289554202</c:v>
                </c:pt>
                <c:pt idx="82">
                  <c:v>3397.6826568942415</c:v>
                </c:pt>
                <c:pt idx="83">
                  <c:v>3478.1828453874573</c:v>
                </c:pt>
                <c:pt idx="84">
                  <c:v>3557.9350554846656</c:v>
                </c:pt>
                <c:pt idx="85">
                  <c:v>3636.83863929175</c:v>
                </c:pt>
                <c:pt idx="86">
                  <c:v>3714.7974618813378</c:v>
                </c:pt>
                <c:pt idx="87">
                  <c:v>3791.7202896483404</c:v>
                </c:pt>
                <c:pt idx="88">
                  <c:v>3867.5211359807495</c:v>
                </c:pt>
                <c:pt idx="89">
                  <c:v>3942.1195327273308</c:v>
                </c:pt>
                <c:pt idx="90">
                  <c:v>4015.4407465435561</c:v>
                </c:pt>
                <c:pt idx="91">
                  <c:v>4087.4159725128884</c:v>
                </c:pt>
                <c:pt idx="92">
                  <c:v>4157.9824646437792</c:v>
                </c:pt>
                <c:pt idx="93">
                  <c:v>4227.0836081352572</c:v>
                </c:pt>
                <c:pt idx="94">
                  <c:v>4294.6689613630942</c:v>
                </c:pt>
                <c:pt idx="95">
                  <c:v>4360.69424418304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1</c:v>
                </c:pt>
                <c:pt idx="1">
                  <c:v>11</c:v>
                </c:pt>
                <c:pt idx="2">
                  <c:v>14</c:v>
                </c:pt>
                <c:pt idx="3">
                  <c:v>19</c:v>
                </c:pt>
                <c:pt idx="4">
                  <c:v>21</c:v>
                </c:pt>
                <c:pt idx="5">
                  <c:v>20</c:v>
                </c:pt>
                <c:pt idx="6">
                  <c:v>17</c:v>
                </c:pt>
                <c:pt idx="7">
                  <c:v>20</c:v>
                </c:pt>
                <c:pt idx="8">
                  <c:v>20</c:v>
                </c:pt>
                <c:pt idx="9">
                  <c:v>21</c:v>
                </c:pt>
                <c:pt idx="10">
                  <c:v>27</c:v>
                </c:pt>
                <c:pt idx="11">
                  <c:v>24</c:v>
                </c:pt>
                <c:pt idx="12">
                  <c:v>23</c:v>
                </c:pt>
                <c:pt idx="13">
                  <c:v>23</c:v>
                </c:pt>
                <c:pt idx="14">
                  <c:v>27</c:v>
                </c:pt>
                <c:pt idx="15">
                  <c:v>32</c:v>
                </c:pt>
                <c:pt idx="16">
                  <c:v>30</c:v>
                </c:pt>
                <c:pt idx="17">
                  <c:v>34</c:v>
                </c:pt>
                <c:pt idx="18">
                  <c:v>44</c:v>
                </c:pt>
                <c:pt idx="19">
                  <c:v>46</c:v>
                </c:pt>
                <c:pt idx="20">
                  <c:v>52</c:v>
                </c:pt>
                <c:pt idx="21">
                  <c:v>50</c:v>
                </c:pt>
                <c:pt idx="22">
                  <c:v>45</c:v>
                </c:pt>
                <c:pt idx="23">
                  <c:v>50</c:v>
                </c:pt>
                <c:pt idx="24">
                  <c:v>51</c:v>
                </c:pt>
                <c:pt idx="25">
                  <c:v>57</c:v>
                </c:pt>
                <c:pt idx="26">
                  <c:v>59</c:v>
                </c:pt>
                <c:pt idx="27">
                  <c:v>56</c:v>
                </c:pt>
                <c:pt idx="28">
                  <c:v>68</c:v>
                </c:pt>
                <c:pt idx="29">
                  <c:v>68</c:v>
                </c:pt>
                <c:pt idx="30">
                  <c:v>84</c:v>
                </c:pt>
                <c:pt idx="31">
                  <c:v>106</c:v>
                </c:pt>
                <c:pt idx="32">
                  <c:v>113</c:v>
                </c:pt>
                <c:pt idx="33">
                  <c:v>118</c:v>
                </c:pt>
                <c:pt idx="34">
                  <c:v>129</c:v>
                </c:pt>
                <c:pt idx="35">
                  <c:v>137</c:v>
                </c:pt>
                <c:pt idx="36">
                  <c:v>129</c:v>
                </c:pt>
                <c:pt idx="37">
                  <c:v>146</c:v>
                </c:pt>
                <c:pt idx="38">
                  <c:v>167</c:v>
                </c:pt>
                <c:pt idx="39">
                  <c:v>169</c:v>
                </c:pt>
                <c:pt idx="40">
                  <c:v>178</c:v>
                </c:pt>
                <c:pt idx="41">
                  <c:v>179</c:v>
                </c:pt>
                <c:pt idx="42">
                  <c:v>187</c:v>
                </c:pt>
                <c:pt idx="43">
                  <c:v>178</c:v>
                </c:pt>
                <c:pt idx="44">
                  <c:v>190</c:v>
                </c:pt>
                <c:pt idx="45">
                  <c:v>213</c:v>
                </c:pt>
                <c:pt idx="46">
                  <c:v>2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80.98328063375936</c:v>
                </c:pt>
                <c:pt idx="43">
                  <c:v>187.14630727558551</c:v>
                </c:pt>
                <c:pt idx="44">
                  <c:v>193.28825074783282</c:v>
                </c:pt>
                <c:pt idx="45">
                  <c:v>199.20250530499558</c:v>
                </c:pt>
                <c:pt idx="46">
                  <c:v>204.70326935438356</c:v>
                </c:pt>
                <c:pt idx="47">
                  <c:v>209.86171034569901</c:v>
                </c:pt>
                <c:pt idx="48">
                  <c:v>214.83892345035741</c:v>
                </c:pt>
                <c:pt idx="49">
                  <c:v>219.72811453234513</c:v>
                </c:pt>
                <c:pt idx="50">
                  <c:v>224.51528900353861</c:v>
                </c:pt>
                <c:pt idx="51">
                  <c:v>229.42045975903446</c:v>
                </c:pt>
                <c:pt idx="52">
                  <c:v>234.14197704308782</c:v>
                </c:pt>
                <c:pt idx="53">
                  <c:v>238.18229011615836</c:v>
                </c:pt>
                <c:pt idx="54">
                  <c:v>241.87097935153736</c:v>
                </c:pt>
                <c:pt idx="55">
                  <c:v>245.39689019023626</c:v>
                </c:pt>
                <c:pt idx="56">
                  <c:v>248.83441319163728</c:v>
                </c:pt>
                <c:pt idx="57">
                  <c:v>252.20190838340289</c:v>
                </c:pt>
                <c:pt idx="58">
                  <c:v>255.50210521740536</c:v>
                </c:pt>
                <c:pt idx="59">
                  <c:v>258.69457696844</c:v>
                </c:pt>
                <c:pt idx="60">
                  <c:v>261.60538826848074</c:v>
                </c:pt>
                <c:pt idx="61">
                  <c:v>264.28979988171636</c:v>
                </c:pt>
                <c:pt idx="62">
                  <c:v>266.77021050480687</c:v>
                </c:pt>
                <c:pt idx="63">
                  <c:v>269.06634784233012</c:v>
                </c:pt>
                <c:pt idx="64">
                  <c:v>271.15805480918056</c:v>
                </c:pt>
                <c:pt idx="65">
                  <c:v>273.08698467957134</c:v>
                </c:pt>
                <c:pt idx="66">
                  <c:v>274.82052123703221</c:v>
                </c:pt>
                <c:pt idx="67">
                  <c:v>276.36103260028227</c:v>
                </c:pt>
                <c:pt idx="68">
                  <c:v>277.65356587290972</c:v>
                </c:pt>
                <c:pt idx="69">
                  <c:v>278.71933930614773</c:v>
                </c:pt>
                <c:pt idx="70">
                  <c:v>279.59388038226462</c:v>
                </c:pt>
                <c:pt idx="71">
                  <c:v>280.18307342192077</c:v>
                </c:pt>
                <c:pt idx="72">
                  <c:v>280.5550144102175</c:v>
                </c:pt>
                <c:pt idx="73">
                  <c:v>280.7139937440819</c:v>
                </c:pt>
                <c:pt idx="74">
                  <c:v>280.61272887115263</c:v>
                </c:pt>
                <c:pt idx="75">
                  <c:v>280.27347282660344</c:v>
                </c:pt>
                <c:pt idx="76">
                  <c:v>279.69918753206719</c:v>
                </c:pt>
                <c:pt idx="77">
                  <c:v>278.91917687905283</c:v>
                </c:pt>
                <c:pt idx="78">
                  <c:v>277.86270755280532</c:v>
                </c:pt>
                <c:pt idx="79">
                  <c:v>276.59576760367065</c:v>
                </c:pt>
                <c:pt idx="80">
                  <c:v>275.11080814459888</c:v>
                </c:pt>
                <c:pt idx="81">
                  <c:v>273.36488023198223</c:v>
                </c:pt>
                <c:pt idx="82">
                  <c:v>271.38119539553463</c:v>
                </c:pt>
                <c:pt idx="83">
                  <c:v>269.21253742111151</c:v>
                </c:pt>
                <c:pt idx="84">
                  <c:v>266.84025297264327</c:v>
                </c:pt>
                <c:pt idx="85">
                  <c:v>264.22938550668732</c:v>
                </c:pt>
                <c:pt idx="86">
                  <c:v>261.47990927148942</c:v>
                </c:pt>
                <c:pt idx="87">
                  <c:v>258.5661634667066</c:v>
                </c:pt>
                <c:pt idx="88">
                  <c:v>255.36681210603518</c:v>
                </c:pt>
                <c:pt idx="89">
                  <c:v>252.03655778784167</c:v>
                </c:pt>
                <c:pt idx="90">
                  <c:v>248.57580137004018</c:v>
                </c:pt>
                <c:pt idx="91">
                  <c:v>244.9578728884016</c:v>
                </c:pt>
                <c:pt idx="92">
                  <c:v>241.13948147983064</c:v>
                </c:pt>
                <c:pt idx="93">
                  <c:v>237.18553115084188</c:v>
                </c:pt>
                <c:pt idx="94">
                  <c:v>233.12271039761504</c:v>
                </c:pt>
                <c:pt idx="95">
                  <c:v>228.939031315348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81.42139654181443</c:v>
                </c:pt>
                <c:pt idx="43">
                  <c:v>188.17991129576319</c:v>
                </c:pt>
                <c:pt idx="44">
                  <c:v>195.08463931893164</c:v>
                </c:pt>
                <c:pt idx="45">
                  <c:v>201.93237223754227</c:v>
                </c:pt>
                <c:pt idx="46">
                  <c:v>208.54601322477833</c:v>
                </c:pt>
                <c:pt idx="47">
                  <c:v>214.99520221700337</c:v>
                </c:pt>
                <c:pt idx="48">
                  <c:v>221.44301505059593</c:v>
                </c:pt>
                <c:pt idx="49">
                  <c:v>227.97793634079784</c:v>
                </c:pt>
                <c:pt idx="50">
                  <c:v>234.58468289702836</c:v>
                </c:pt>
                <c:pt idx="51">
                  <c:v>241.47708743143869</c:v>
                </c:pt>
                <c:pt idx="52">
                  <c:v>248.34953531013952</c:v>
                </c:pt>
                <c:pt idx="53">
                  <c:v>254.69760391209991</c:v>
                </c:pt>
                <c:pt idx="54">
                  <c:v>260.84526854051637</c:v>
                </c:pt>
                <c:pt idx="55">
                  <c:v>266.971002880588</c:v>
                </c:pt>
                <c:pt idx="56">
                  <c:v>273.13532629397844</c:v>
                </c:pt>
                <c:pt idx="57">
                  <c:v>279.33249714025152</c:v>
                </c:pt>
                <c:pt idx="58">
                  <c:v>285.55725677913586</c:v>
                </c:pt>
                <c:pt idx="59">
                  <c:v>291.75717382401496</c:v>
                </c:pt>
                <c:pt idx="60">
                  <c:v>297.7499058984651</c:v>
                </c:pt>
                <c:pt idx="61">
                  <c:v>303.57466284640913</c:v>
                </c:pt>
                <c:pt idx="62">
                  <c:v>309.2417776692684</c:v>
                </c:pt>
                <c:pt idx="63">
                  <c:v>314.75722878736104</c:v>
                </c:pt>
                <c:pt idx="64">
                  <c:v>320.08325794706468</c:v>
                </c:pt>
                <c:pt idx="65">
                  <c:v>325.24699074432931</c:v>
                </c:pt>
                <c:pt idx="66">
                  <c:v>330.20369571998503</c:v>
                </c:pt>
                <c:pt idx="67">
                  <c:v>334.94175487166683</c:v>
                </c:pt>
                <c:pt idx="68">
                  <c:v>339.39375548644227</c:v>
                </c:pt>
                <c:pt idx="69">
                  <c:v>343.56789898784029</c:v>
                </c:pt>
                <c:pt idx="70">
                  <c:v>347.48629014713867</c:v>
                </c:pt>
                <c:pt idx="71">
                  <c:v>351.04189801811935</c:v>
                </c:pt>
                <c:pt idx="72">
                  <c:v>354.28967926710732</c:v>
                </c:pt>
                <c:pt idx="73">
                  <c:v>357.22224046014463</c:v>
                </c:pt>
                <c:pt idx="74">
                  <c:v>359.78164105116383</c:v>
                </c:pt>
                <c:pt idx="75">
                  <c:v>361.97964259203195</c:v>
                </c:pt>
                <c:pt idx="76">
                  <c:v>363.80941410449998</c:v>
                </c:pt>
                <c:pt idx="77">
                  <c:v>365.29187033563875</c:v>
                </c:pt>
                <c:pt idx="78">
                  <c:v>366.34787194529997</c:v>
                </c:pt>
                <c:pt idx="79">
                  <c:v>367.03663182636672</c:v>
                </c:pt>
                <c:pt idx="80">
                  <c:v>367.34443604418709</c:v>
                </c:pt>
                <c:pt idx="81">
                  <c:v>367.22309852681849</c:v>
                </c:pt>
                <c:pt idx="82">
                  <c:v>366.69109049911242</c:v>
                </c:pt>
                <c:pt idx="83">
                  <c:v>365.79814767692085</c:v>
                </c:pt>
                <c:pt idx="84">
                  <c:v>364.52324458074054</c:v>
                </c:pt>
                <c:pt idx="85">
                  <c:v>362.83001165799925</c:v>
                </c:pt>
                <c:pt idx="86">
                  <c:v>360.81795577326034</c:v>
                </c:pt>
                <c:pt idx="87">
                  <c:v>358.4618537534725</c:v>
                </c:pt>
                <c:pt idx="88">
                  <c:v>355.64122920609498</c:v>
                </c:pt>
                <c:pt idx="89">
                  <c:v>352.51322117005884</c:v>
                </c:pt>
                <c:pt idx="90">
                  <c:v>349.08072543492437</c:v>
                </c:pt>
                <c:pt idx="91">
                  <c:v>345.32060807180528</c:v>
                </c:pt>
                <c:pt idx="92">
                  <c:v>341.18777205231129</c:v>
                </c:pt>
                <c:pt idx="93">
                  <c:v>336.7560687604647</c:v>
                </c:pt>
                <c:pt idx="94">
                  <c:v>332.05755123142262</c:v>
                </c:pt>
                <c:pt idx="95">
                  <c:v>327.086151685813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81.86228979685487</c:v>
                </c:pt>
                <c:pt idx="43">
                  <c:v>189.22344295849265</c:v>
                </c:pt>
                <c:pt idx="44">
                  <c:v>196.90526797288049</c:v>
                </c:pt>
                <c:pt idx="45">
                  <c:v>204.71114668428726</c:v>
                </c:pt>
                <c:pt idx="46">
                  <c:v>212.4762128299223</c:v>
                </c:pt>
                <c:pt idx="47">
                  <c:v>220.27229559205045</c:v>
                </c:pt>
                <c:pt idx="48">
                  <c:v>228.26832060587867</c:v>
                </c:pt>
                <c:pt idx="49">
                  <c:v>236.55195144501022</c:v>
                </c:pt>
                <c:pt idx="50">
                  <c:v>245.11047765491327</c:v>
                </c:pt>
                <c:pt idx="51">
                  <c:v>254.15526966827423</c:v>
                </c:pt>
                <c:pt idx="52">
                  <c:v>263.38025510233297</c:v>
                </c:pt>
                <c:pt idx="53">
                  <c:v>272.27731817426604</c:v>
                </c:pt>
                <c:pt idx="54">
                  <c:v>281.16762696880528</c:v>
                </c:pt>
                <c:pt idx="55">
                  <c:v>290.22160331439733</c:v>
                </c:pt>
                <c:pt idx="56">
                  <c:v>299.48769220941335</c:v>
                </c:pt>
                <c:pt idx="57">
                  <c:v>308.9371642274042</c:v>
                </c:pt>
                <c:pt idx="58">
                  <c:v>318.55727446654316</c:v>
                </c:pt>
                <c:pt idx="59">
                  <c:v>328.28338993959932</c:v>
                </c:pt>
                <c:pt idx="60">
                  <c:v>337.92381511401607</c:v>
                </c:pt>
                <c:pt idx="61">
                  <c:v>347.49996266557923</c:v>
                </c:pt>
                <c:pt idx="62">
                  <c:v>357.00757128008939</c:v>
                </c:pt>
                <c:pt idx="63">
                  <c:v>366.43557133218667</c:v>
                </c:pt>
                <c:pt idx="64">
                  <c:v>375.72452923658767</c:v>
                </c:pt>
                <c:pt idx="65">
                  <c:v>384.88232734697107</c:v>
                </c:pt>
                <c:pt idx="66">
                  <c:v>393.84680958245588</c:v>
                </c:pt>
                <c:pt idx="67">
                  <c:v>402.58639964483768</c:v>
                </c:pt>
                <c:pt idx="68">
                  <c:v>411.01469283303555</c:v>
                </c:pt>
                <c:pt idx="69">
                  <c:v>419.11985702718061</c:v>
                </c:pt>
                <c:pt idx="70">
                  <c:v>426.90317197180968</c:v>
                </c:pt>
                <c:pt idx="71">
                  <c:v>434.23699658767566</c:v>
                </c:pt>
                <c:pt idx="72">
                  <c:v>441.15529909450305</c:v>
                </c:pt>
                <c:pt idx="73">
                  <c:v>447.6310986420184</c:v>
                </c:pt>
                <c:pt idx="74">
                  <c:v>453.58792366660896</c:v>
                </c:pt>
                <c:pt idx="75">
                  <c:v>459.01930482254369</c:v>
                </c:pt>
                <c:pt idx="76">
                  <c:v>463.90112249559377</c:v>
                </c:pt>
                <c:pt idx="77">
                  <c:v>468.23875793725557</c:v>
                </c:pt>
                <c:pt idx="78">
                  <c:v>471.93796878753653</c:v>
                </c:pt>
                <c:pt idx="79">
                  <c:v>475.04503849955495</c:v>
                </c:pt>
                <c:pt idx="80">
                  <c:v>477.53455166700371</c:v>
                </c:pt>
                <c:pt idx="81">
                  <c:v>479.34823825105036</c:v>
                </c:pt>
                <c:pt idx="82">
                  <c:v>480.49573316947749</c:v>
                </c:pt>
                <c:pt idx="83">
                  <c:v>481.02043273994502</c:v>
                </c:pt>
                <c:pt idx="84">
                  <c:v>480.89648802011277</c:v>
                </c:pt>
                <c:pt idx="85">
                  <c:v>480.08452821682289</c:v>
                </c:pt>
                <c:pt idx="86">
                  <c:v>478.68287725142056</c:v>
                </c:pt>
                <c:pt idx="87">
                  <c:v>476.66690124907655</c:v>
                </c:pt>
                <c:pt idx="88">
                  <c:v>473.91798397278183</c:v>
                </c:pt>
                <c:pt idx="89">
                  <c:v>470.59752808016469</c:v>
                </c:pt>
                <c:pt idx="90">
                  <c:v>466.71353573279816</c:v>
                </c:pt>
                <c:pt idx="91">
                  <c:v>462.24975928744385</c:v>
                </c:pt>
                <c:pt idx="92">
                  <c:v>457.1632894545445</c:v>
                </c:pt>
                <c:pt idx="93">
                  <c:v>451.5415502170361</c:v>
                </c:pt>
                <c:pt idx="94">
                  <c:v>445.42711331740225</c:v>
                </c:pt>
                <c:pt idx="95">
                  <c:v>438.825449093148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06</c:v>
                </c:pt>
                <c:pt idx="1">
                  <c:v>116</c:v>
                </c:pt>
                <c:pt idx="2">
                  <c:v>119</c:v>
                </c:pt>
                <c:pt idx="3">
                  <c:v>124</c:v>
                </c:pt>
                <c:pt idx="4">
                  <c:v>129</c:v>
                </c:pt>
                <c:pt idx="5">
                  <c:v>139</c:v>
                </c:pt>
                <c:pt idx="6">
                  <c:v>147</c:v>
                </c:pt>
                <c:pt idx="7">
                  <c:v>153</c:v>
                </c:pt>
                <c:pt idx="8">
                  <c:v>160</c:v>
                </c:pt>
                <c:pt idx="9">
                  <c:v>165</c:v>
                </c:pt>
                <c:pt idx="10">
                  <c:v>176</c:v>
                </c:pt>
                <c:pt idx="11">
                  <c:v>185</c:v>
                </c:pt>
                <c:pt idx="12">
                  <c:v>208</c:v>
                </c:pt>
                <c:pt idx="13">
                  <c:v>215</c:v>
                </c:pt>
                <c:pt idx="14">
                  <c:v>229</c:v>
                </c:pt>
                <c:pt idx="15">
                  <c:v>242</c:v>
                </c:pt>
                <c:pt idx="16">
                  <c:v>252</c:v>
                </c:pt>
                <c:pt idx="17">
                  <c:v>268</c:v>
                </c:pt>
                <c:pt idx="18">
                  <c:v>307</c:v>
                </c:pt>
                <c:pt idx="19">
                  <c:v>322</c:v>
                </c:pt>
                <c:pt idx="20">
                  <c:v>347</c:v>
                </c:pt>
                <c:pt idx="21">
                  <c:v>380</c:v>
                </c:pt>
                <c:pt idx="22">
                  <c:v>404</c:v>
                </c:pt>
                <c:pt idx="23">
                  <c:v>424</c:v>
                </c:pt>
                <c:pt idx="24">
                  <c:v>477</c:v>
                </c:pt>
                <c:pt idx="25">
                  <c:v>549</c:v>
                </c:pt>
                <c:pt idx="26">
                  <c:v>596</c:v>
                </c:pt>
                <c:pt idx="27">
                  <c:v>634</c:v>
                </c:pt>
                <c:pt idx="28">
                  <c:v>681</c:v>
                </c:pt>
                <c:pt idx="29">
                  <c:v>715</c:v>
                </c:pt>
                <c:pt idx="30">
                  <c:v>756</c:v>
                </c:pt>
                <c:pt idx="31">
                  <c:v>843</c:v>
                </c:pt>
                <c:pt idx="32">
                  <c:v>951</c:v>
                </c:pt>
                <c:pt idx="33">
                  <c:v>1036</c:v>
                </c:pt>
                <c:pt idx="34">
                  <c:v>1081</c:v>
                </c:pt>
                <c:pt idx="35">
                  <c:v>1144</c:v>
                </c:pt>
                <c:pt idx="36">
                  <c:v>1188</c:v>
                </c:pt>
                <c:pt idx="37">
                  <c:v>1232</c:v>
                </c:pt>
                <c:pt idx="38">
                  <c:v>1323</c:v>
                </c:pt>
                <c:pt idx="39">
                  <c:v>1405</c:v>
                </c:pt>
                <c:pt idx="40">
                  <c:v>1475</c:v>
                </c:pt>
                <c:pt idx="41">
                  <c:v>1554</c:v>
                </c:pt>
                <c:pt idx="42">
                  <c:v>1652</c:v>
                </c:pt>
                <c:pt idx="43">
                  <c:v>1709</c:v>
                </c:pt>
                <c:pt idx="44">
                  <c:v>1778</c:v>
                </c:pt>
                <c:pt idx="45">
                  <c:v>1879</c:v>
                </c:pt>
                <c:pt idx="46">
                  <c:v>1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624.0464358856093</c:v>
                </c:pt>
                <c:pt idx="43">
                  <c:v>1707.7603913810945</c:v>
                </c:pt>
                <c:pt idx="44">
                  <c:v>1793.1498715882783</c:v>
                </c:pt>
                <c:pt idx="45">
                  <c:v>1880.5752985750701</c:v>
                </c:pt>
                <c:pt idx="46">
                  <c:v>1970.1349060228156</c:v>
                </c:pt>
                <c:pt idx="47">
                  <c:v>2061.383270016609</c:v>
                </c:pt>
                <c:pt idx="48">
                  <c:v>2154.3365405852055</c:v>
                </c:pt>
                <c:pt idx="49">
                  <c:v>2248.6751647196365</c:v>
                </c:pt>
                <c:pt idx="50">
                  <c:v>2344.1995467742022</c:v>
                </c:pt>
                <c:pt idx="51">
                  <c:v>2441.1102704880245</c:v>
                </c:pt>
                <c:pt idx="52">
                  <c:v>2539.1292605738872</c:v>
                </c:pt>
                <c:pt idx="53">
                  <c:v>2638.1996376304496</c:v>
                </c:pt>
                <c:pt idx="54">
                  <c:v>2738.5898926628533</c:v>
                </c:pt>
                <c:pt idx="55">
                  <c:v>2839.9336787951825</c:v>
                </c:pt>
                <c:pt idx="56">
                  <c:v>2942.1105698945894</c:v>
                </c:pt>
                <c:pt idx="57">
                  <c:v>3045.2090709708027</c:v>
                </c:pt>
                <c:pt idx="58">
                  <c:v>3149.059641830323</c:v>
                </c:pt>
                <c:pt idx="59">
                  <c:v>3253.5370535591164</c:v>
                </c:pt>
                <c:pt idx="60">
                  <c:v>3358.6699652057096</c:v>
                </c:pt>
                <c:pt idx="61">
                  <c:v>3464.3938748204464</c:v>
                </c:pt>
                <c:pt idx="62">
                  <c:v>3570.5547352674148</c:v>
                </c:pt>
                <c:pt idx="63">
                  <c:v>3677.0399002196405</c:v>
                </c:pt>
                <c:pt idx="64">
                  <c:v>3783.8350753126524</c:v>
                </c:pt>
                <c:pt idx="65">
                  <c:v>3890.7381041221015</c:v>
                </c:pt>
                <c:pt idx="66">
                  <c:v>3997.6915358452898</c:v>
                </c:pt>
                <c:pt idx="67">
                  <c:v>4104.7550930952411</c:v>
                </c:pt>
                <c:pt idx="68">
                  <c:v>4211.6879110686532</c:v>
                </c:pt>
                <c:pt idx="69">
                  <c:v>4318.4411558872407</c:v>
                </c:pt>
                <c:pt idx="70">
                  <c:v>4424.9239303763643</c:v>
                </c:pt>
                <c:pt idx="71">
                  <c:v>4531.0457700167326</c:v>
                </c:pt>
                <c:pt idx="72">
                  <c:v>4636.7186903659749</c:v>
                </c:pt>
                <c:pt idx="73">
                  <c:v>4741.8571479362245</c:v>
                </c:pt>
                <c:pt idx="74">
                  <c:v>4846.3773394635446</c:v>
                </c:pt>
                <c:pt idx="75">
                  <c:v>4950.1972519301162</c:v>
                </c:pt>
                <c:pt idx="76">
                  <c:v>5053.2369376228235</c:v>
                </c:pt>
                <c:pt idx="77">
                  <c:v>5155.4187611792058</c:v>
                </c:pt>
                <c:pt idx="78">
                  <c:v>5256.6678300735657</c:v>
                </c:pt>
                <c:pt idx="79">
                  <c:v>5356.9122401290333</c:v>
                </c:pt>
                <c:pt idx="80">
                  <c:v>5456.0831906381027</c:v>
                </c:pt>
                <c:pt idx="81">
                  <c:v>5554.1150959625193</c:v>
                </c:pt>
                <c:pt idx="82">
                  <c:v>5650.9456666105571</c:v>
                </c:pt>
                <c:pt idx="83">
                  <c:v>5746.5159648179888</c:v>
                </c:pt>
                <c:pt idx="84">
                  <c:v>5840.7705035642366</c:v>
                </c:pt>
                <c:pt idx="85">
                  <c:v>5933.6573307210665</c:v>
                </c:pt>
                <c:pt idx="86">
                  <c:v>6025.1280702239437</c:v>
                </c:pt>
                <c:pt idx="87">
                  <c:v>6115.13796594821</c:v>
                </c:pt>
                <c:pt idx="88">
                  <c:v>6203.6459165011547</c:v>
                </c:pt>
                <c:pt idx="89">
                  <c:v>6290.6144645988334</c:v>
                </c:pt>
                <c:pt idx="90">
                  <c:v>6376.0097681460757</c:v>
                </c:pt>
                <c:pt idx="91">
                  <c:v>6459.8015928965524</c:v>
                </c:pt>
                <c:pt idx="92">
                  <c:v>6541.9632761347684</c:v>
                </c:pt>
                <c:pt idx="93">
                  <c:v>6622.4716668168348</c:v>
                </c:pt>
                <c:pt idx="94">
                  <c:v>6701.3070757497208</c:v>
                </c:pt>
                <c:pt idx="95">
                  <c:v>6778.45320416647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625.7064370369294</c:v>
                </c:pt>
                <c:pt idx="43">
                  <c:v>1711.7449644409364</c:v>
                </c:pt>
                <c:pt idx="44">
                  <c:v>1800.2023314333203</c:v>
                </c:pt>
                <c:pt idx="45">
                  <c:v>1891.5148857119871</c:v>
                </c:pt>
                <c:pt idx="46">
                  <c:v>1985.8542195714087</c:v>
                </c:pt>
                <c:pt idx="47">
                  <c:v>2082.8445037285824</c:v>
                </c:pt>
                <c:pt idx="48">
                  <c:v>2182.5628063190557</c:v>
                </c:pt>
                <c:pt idx="49">
                  <c:v>2284.7441117884687</c:v>
                </c:pt>
                <c:pt idx="50">
                  <c:v>2389.2363239842675</c:v>
                </c:pt>
                <c:pt idx="51">
                  <c:v>2496.2812922995681</c:v>
                </c:pt>
                <c:pt idx="52">
                  <c:v>2605.6378801266819</c:v>
                </c:pt>
                <c:pt idx="53">
                  <c:v>2717.2799312686566</c:v>
                </c:pt>
                <c:pt idx="54">
                  <c:v>2831.5010051276213</c:v>
                </c:pt>
                <c:pt idx="55">
                  <c:v>2947.9545385714437</c:v>
                </c:pt>
                <c:pt idx="56">
                  <c:v>3066.534163657112</c:v>
                </c:pt>
                <c:pt idx="57">
                  <c:v>3187.3364771898468</c:v>
                </c:pt>
                <c:pt idx="58">
                  <c:v>3310.1950397867922</c:v>
                </c:pt>
                <c:pt idx="59">
                  <c:v>3434.9825771500764</c:v>
                </c:pt>
                <c:pt idx="60">
                  <c:v>3561.7195241826744</c:v>
                </c:pt>
                <c:pt idx="61">
                  <c:v>3690.3271310261407</c:v>
                </c:pt>
                <c:pt idx="62">
                  <c:v>3820.6316044954988</c:v>
                </c:pt>
                <c:pt idx="63">
                  <c:v>3952.4946095410478</c:v>
                </c:pt>
                <c:pt idx="64">
                  <c:v>4085.870439548265</c:v>
                </c:pt>
                <c:pt idx="65">
                  <c:v>4220.5219854992083</c:v>
                </c:pt>
                <c:pt idx="66">
                  <c:v>4356.352771495961</c:v>
                </c:pt>
                <c:pt idx="67">
                  <c:v>4493.3778161255086</c:v>
                </c:pt>
                <c:pt idx="68">
                  <c:v>4631.3070177091022</c:v>
                </c:pt>
                <c:pt idx="69">
                  <c:v>4770.0374193231455</c:v>
                </c:pt>
                <c:pt idx="70">
                  <c:v>4909.4198284415543</c:v>
                </c:pt>
                <c:pt idx="71">
                  <c:v>5049.3017529652134</c:v>
                </c:pt>
                <c:pt idx="72">
                  <c:v>5189.5305387565368</c:v>
                </c:pt>
                <c:pt idx="73">
                  <c:v>5329.9535984993154</c:v>
                </c:pt>
                <c:pt idx="74">
                  <c:v>5470.4177299140501</c:v>
                </c:pt>
                <c:pt idx="75">
                  <c:v>5610.7695064290938</c:v>
                </c:pt>
                <c:pt idx="76">
                  <c:v>5750.855990745541</c:v>
                </c:pt>
                <c:pt idx="77">
                  <c:v>5890.5254111457116</c:v>
                </c:pt>
                <c:pt idx="78">
                  <c:v>6029.6281066609627</c:v>
                </c:pt>
                <c:pt idx="79">
                  <c:v>6168.0172134673803</c:v>
                </c:pt>
                <c:pt idx="80">
                  <c:v>6305.5491663585763</c:v>
                </c:pt>
                <c:pt idx="81">
                  <c:v>6442.0841894711784</c:v>
                </c:pt>
                <c:pt idx="82">
                  <c:v>6577.4867397939088</c:v>
                </c:pt>
                <c:pt idx="83">
                  <c:v>6711.6259057238685</c:v>
                </c:pt>
                <c:pt idx="84">
                  <c:v>6844.3758484594891</c:v>
                </c:pt>
                <c:pt idx="85">
                  <c:v>6975.6162073431678</c:v>
                </c:pt>
                <c:pt idx="86">
                  <c:v>7105.2324290523347</c:v>
                </c:pt>
                <c:pt idx="87">
                  <c:v>7233.1160785609109</c:v>
                </c:pt>
                <c:pt idx="88">
                  <c:v>7359.165117099481</c:v>
                </c:pt>
                <c:pt idx="89">
                  <c:v>7483.2840955932297</c:v>
                </c:pt>
                <c:pt idx="90">
                  <c:v>7605.3842981178423</c:v>
                </c:pt>
                <c:pt idx="91">
                  <c:v>7725.3838916228688</c:v>
                </c:pt>
                <c:pt idx="92">
                  <c:v>7843.2080114674291</c:v>
                </c:pt>
                <c:pt idx="93">
                  <c:v>7958.7887908582261</c:v>
                </c:pt>
                <c:pt idx="94">
                  <c:v>8072.0653804663489</c:v>
                </c:pt>
                <c:pt idx="95">
                  <c:v>8182.98391646747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627.3770634287071</c:v>
                </c:pt>
                <c:pt idx="43">
                  <c:v>1715.7678446304831</c:v>
                </c:pt>
                <c:pt idx="44">
                  <c:v>1807.3491941151844</c:v>
                </c:pt>
                <c:pt idx="45">
                  <c:v>1902.6469856692952</c:v>
                </c:pt>
                <c:pt idx="46">
                  <c:v>2001.9217688938934</c:v>
                </c:pt>
                <c:pt idx="47">
                  <c:v>2104.8847177079224</c:v>
                </c:pt>
                <c:pt idx="48">
                  <c:v>2211.6928536509095</c:v>
                </c:pt>
                <c:pt idx="49">
                  <c:v>2322.1561401438439</c:v>
                </c:pt>
                <c:pt idx="50">
                  <c:v>2436.1915129759736</c:v>
                </c:pt>
                <c:pt idx="51">
                  <c:v>2554.1044444040294</c:v>
                </c:pt>
                <c:pt idx="52">
                  <c:v>2675.7135777658741</c:v>
                </c:pt>
                <c:pt idx="53">
                  <c:v>2801.0463710055546</c:v>
                </c:pt>
                <c:pt idx="54">
                  <c:v>2930.4440476983455</c:v>
                </c:pt>
                <c:pt idx="55">
                  <c:v>3063.6017397200876</c:v>
                </c:pt>
                <c:pt idx="56">
                  <c:v>3200.4481139614509</c:v>
                </c:pt>
                <c:pt idx="57">
                  <c:v>3341.1074301615463</c:v>
                </c:pt>
                <c:pt idx="58">
                  <c:v>3485.4342949988827</c:v>
                </c:pt>
                <c:pt idx="59">
                  <c:v>3633.3153657770695</c:v>
                </c:pt>
                <c:pt idx="60">
                  <c:v>3784.7763102722643</c:v>
                </c:pt>
                <c:pt idx="61">
                  <c:v>3939.7347770544375</c:v>
                </c:pt>
                <c:pt idx="62">
                  <c:v>4098.0047421021482</c:v>
                </c:pt>
                <c:pt idx="63">
                  <c:v>4259.4263989912888</c:v>
                </c:pt>
                <c:pt idx="64">
                  <c:v>4423.9233327740749</c:v>
                </c:pt>
                <c:pt idx="65">
                  <c:v>4591.2208548281433</c:v>
                </c:pt>
                <c:pt idx="66">
                  <c:v>4761.1773902392288</c:v>
                </c:pt>
                <c:pt idx="67">
                  <c:v>4933.7532374966049</c:v>
                </c:pt>
                <c:pt idx="68">
                  <c:v>5108.5951853069982</c:v>
                </c:pt>
                <c:pt idx="69">
                  <c:v>5285.5284859967896</c:v>
                </c:pt>
                <c:pt idx="70">
                  <c:v>5464.3243579849623</c:v>
                </c:pt>
                <c:pt idx="71">
                  <c:v>5644.7435338113728</c:v>
                </c:pt>
                <c:pt idx="72">
                  <c:v>5826.5408629810281</c:v>
                </c:pt>
                <c:pt idx="73">
                  <c:v>6009.4660401756037</c:v>
                </c:pt>
                <c:pt idx="74">
                  <c:v>6193.2631598630051</c:v>
                </c:pt>
                <c:pt idx="75">
                  <c:v>6377.6717768103199</c:v>
                </c:pt>
                <c:pt idx="76">
                  <c:v>6562.4284404073333</c:v>
                </c:pt>
                <c:pt idx="77">
                  <c:v>6747.2682036191982</c:v>
                </c:pt>
                <c:pt idx="78">
                  <c:v>6931.9265242152778</c:v>
                </c:pt>
                <c:pt idx="79">
                  <c:v>7116.1408275585454</c:v>
                </c:pt>
                <c:pt idx="80">
                  <c:v>7299.6518243430055</c:v>
                </c:pt>
                <c:pt idx="81">
                  <c:v>7482.2048082477568</c:v>
                </c:pt>
                <c:pt idx="82">
                  <c:v>7663.55087926947</c:v>
                </c:pt>
                <c:pt idx="83">
                  <c:v>7843.4480857848539</c:v>
                </c:pt>
                <c:pt idx="84">
                  <c:v>8021.6625906524696</c:v>
                </c:pt>
                <c:pt idx="85">
                  <c:v>8197.9697526578566</c:v>
                </c:pt>
                <c:pt idx="86">
                  <c:v>8372.1550646995183</c:v>
                </c:pt>
                <c:pt idx="87">
                  <c:v>8544.0150177719497</c:v>
                </c:pt>
                <c:pt idx="88">
                  <c:v>8713.3578701113402</c:v>
                </c:pt>
                <c:pt idx="89">
                  <c:v>8880.0042493753972</c:v>
                </c:pt>
                <c:pt idx="90">
                  <c:v>9043.7876302637233</c:v>
                </c:pt>
                <c:pt idx="91">
                  <c:v>9204.5547637751843</c:v>
                </c:pt>
                <c:pt idx="92">
                  <c:v>9362.1659635466895</c:v>
                </c:pt>
                <c:pt idx="93">
                  <c:v>9516.4952617574199</c:v>
                </c:pt>
                <c:pt idx="94">
                  <c:v>9667.4304980328743</c:v>
                </c:pt>
                <c:pt idx="95">
                  <c:v>9814.87328928557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</c:v>
                </c:pt>
                <c:pt idx="1">
                  <c:v>21</c:v>
                </c:pt>
                <c:pt idx="2">
                  <c:v>23</c:v>
                </c:pt>
                <c:pt idx="3">
                  <c:v>26</c:v>
                </c:pt>
                <c:pt idx="4">
                  <c:v>27</c:v>
                </c:pt>
                <c:pt idx="5">
                  <c:v>26</c:v>
                </c:pt>
                <c:pt idx="6">
                  <c:v>24</c:v>
                </c:pt>
                <c:pt idx="7">
                  <c:v>33</c:v>
                </c:pt>
                <c:pt idx="8">
                  <c:v>30</c:v>
                </c:pt>
                <c:pt idx="9">
                  <c:v>35</c:v>
                </c:pt>
                <c:pt idx="10">
                  <c:v>36</c:v>
                </c:pt>
                <c:pt idx="11">
                  <c:v>35</c:v>
                </c:pt>
                <c:pt idx="12">
                  <c:v>37</c:v>
                </c:pt>
                <c:pt idx="13">
                  <c:v>38</c:v>
                </c:pt>
                <c:pt idx="14">
                  <c:v>47</c:v>
                </c:pt>
                <c:pt idx="15">
                  <c:v>51</c:v>
                </c:pt>
                <c:pt idx="16">
                  <c:v>63</c:v>
                </c:pt>
                <c:pt idx="17">
                  <c:v>76</c:v>
                </c:pt>
                <c:pt idx="18">
                  <c:v>77</c:v>
                </c:pt>
                <c:pt idx="19">
                  <c:v>83</c:v>
                </c:pt>
                <c:pt idx="20">
                  <c:v>82</c:v>
                </c:pt>
                <c:pt idx="21">
                  <c:v>82</c:v>
                </c:pt>
                <c:pt idx="22">
                  <c:v>84</c:v>
                </c:pt>
                <c:pt idx="23">
                  <c:v>93</c:v>
                </c:pt>
                <c:pt idx="24">
                  <c:v>109</c:v>
                </c:pt>
                <c:pt idx="25">
                  <c:v>100</c:v>
                </c:pt>
                <c:pt idx="26">
                  <c:v>107</c:v>
                </c:pt>
                <c:pt idx="27">
                  <c:v>108</c:v>
                </c:pt>
                <c:pt idx="28">
                  <c:v>114</c:v>
                </c:pt>
                <c:pt idx="29">
                  <c:v>128</c:v>
                </c:pt>
                <c:pt idx="30">
                  <c:v>142</c:v>
                </c:pt>
                <c:pt idx="31">
                  <c:v>154</c:v>
                </c:pt>
                <c:pt idx="32">
                  <c:v>158</c:v>
                </c:pt>
                <c:pt idx="33">
                  <c:v>164</c:v>
                </c:pt>
                <c:pt idx="34">
                  <c:v>194</c:v>
                </c:pt>
                <c:pt idx="35">
                  <c:v>198</c:v>
                </c:pt>
                <c:pt idx="36">
                  <c:v>196</c:v>
                </c:pt>
                <c:pt idx="37">
                  <c:v>195</c:v>
                </c:pt>
                <c:pt idx="38">
                  <c:v>224</c:v>
                </c:pt>
                <c:pt idx="39">
                  <c:v>259</c:v>
                </c:pt>
                <c:pt idx="40">
                  <c:v>258</c:v>
                </c:pt>
                <c:pt idx="41">
                  <c:v>272</c:v>
                </c:pt>
                <c:pt idx="42">
                  <c:v>285</c:v>
                </c:pt>
                <c:pt idx="43">
                  <c:v>266</c:v>
                </c:pt>
                <c:pt idx="44">
                  <c:v>267</c:v>
                </c:pt>
                <c:pt idx="45">
                  <c:v>304</c:v>
                </c:pt>
                <c:pt idx="46">
                  <c:v>3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69.75144331148636</c:v>
                </c:pt>
                <c:pt idx="43">
                  <c:v>278.87319505267106</c:v>
                </c:pt>
                <c:pt idx="44">
                  <c:v>287.96471465401237</c:v>
                </c:pt>
                <c:pt idx="45">
                  <c:v>296.71435765613285</c:v>
                </c:pt>
                <c:pt idx="46">
                  <c:v>304.83978391347063</c:v>
                </c:pt>
                <c:pt idx="47">
                  <c:v>312.45361066708631</c:v>
                </c:pt>
                <c:pt idx="48">
                  <c:v>319.80495269361813</c:v>
                </c:pt>
                <c:pt idx="49">
                  <c:v>327.03180883118273</c:v>
                </c:pt>
                <c:pt idx="50">
                  <c:v>334.11048001960313</c:v>
                </c:pt>
                <c:pt idx="51">
                  <c:v>341.37274498332022</c:v>
                </c:pt>
                <c:pt idx="52">
                  <c:v>348.36824954423935</c:v>
                </c:pt>
                <c:pt idx="53">
                  <c:v>354.34843782324418</c:v>
                </c:pt>
                <c:pt idx="54">
                  <c:v>359.80348188285194</c:v>
                </c:pt>
                <c:pt idx="55">
                  <c:v>365.02187887505272</c:v>
                </c:pt>
                <c:pt idx="56">
                  <c:v>370.11458093219977</c:v>
                </c:pt>
                <c:pt idx="57">
                  <c:v>375.11201777458069</c:v>
                </c:pt>
                <c:pt idx="58">
                  <c:v>380.01249024031034</c:v>
                </c:pt>
                <c:pt idx="59">
                  <c:v>384.75619456915979</c:v>
                </c:pt>
                <c:pt idx="60">
                  <c:v>389.08696629858116</c:v>
                </c:pt>
                <c:pt idx="61">
                  <c:v>393.08150146006903</c:v>
                </c:pt>
                <c:pt idx="62">
                  <c:v>396.7754184704574</c:v>
                </c:pt>
                <c:pt idx="63">
                  <c:v>400.19764869040455</c:v>
                </c:pt>
                <c:pt idx="64">
                  <c:v>403.31736024779514</c:v>
                </c:pt>
                <c:pt idx="65">
                  <c:v>406.19675012505917</c:v>
                </c:pt>
                <c:pt idx="66">
                  <c:v>408.78691356672402</c:v>
                </c:pt>
                <c:pt idx="67">
                  <c:v>411.09271136957773</c:v>
                </c:pt>
                <c:pt idx="68">
                  <c:v>413.03021129557555</c:v>
                </c:pt>
                <c:pt idx="69">
                  <c:v>414.63279955199062</c:v>
                </c:pt>
                <c:pt idx="70">
                  <c:v>415.95113559444735</c:v>
                </c:pt>
                <c:pt idx="71">
                  <c:v>416.84502097990674</c:v>
                </c:pt>
                <c:pt idx="72">
                  <c:v>417.41545614956112</c:v>
                </c:pt>
                <c:pt idx="73">
                  <c:v>417.66972658667089</c:v>
                </c:pt>
                <c:pt idx="74">
                  <c:v>417.53888152566805</c:v>
                </c:pt>
                <c:pt idx="75">
                  <c:v>417.0542854253963</c:v>
                </c:pt>
                <c:pt idx="76">
                  <c:v>416.22135157325897</c:v>
                </c:pt>
                <c:pt idx="77">
                  <c:v>415.08150876582431</c:v>
                </c:pt>
                <c:pt idx="78">
                  <c:v>413.5307597944157</c:v>
                </c:pt>
                <c:pt idx="79">
                  <c:v>411.66564238769445</c:v>
                </c:pt>
                <c:pt idx="80">
                  <c:v>409.47675143493643</c:v>
                </c:pt>
                <c:pt idx="81">
                  <c:v>406.90221341315737</c:v>
                </c:pt>
                <c:pt idx="82">
                  <c:v>403.97323059431579</c:v>
                </c:pt>
                <c:pt idx="83">
                  <c:v>400.76919987785197</c:v>
                </c:pt>
                <c:pt idx="84">
                  <c:v>397.26197312339241</c:v>
                </c:pt>
                <c:pt idx="85">
                  <c:v>393.39831431082757</c:v>
                </c:pt>
                <c:pt idx="86">
                  <c:v>389.32677584494166</c:v>
                </c:pt>
                <c:pt idx="87">
                  <c:v>385.01008004010259</c:v>
                </c:pt>
                <c:pt idx="88">
                  <c:v>380.27245694499328</c:v>
                </c:pt>
                <c:pt idx="89">
                  <c:v>375.33914388558264</c:v>
                </c:pt>
                <c:pt idx="90">
                  <c:v>370.2110646248438</c:v>
                </c:pt>
                <c:pt idx="91">
                  <c:v>364.84899259989049</c:v>
                </c:pt>
                <c:pt idx="92">
                  <c:v>359.1876393044077</c:v>
                </c:pt>
                <c:pt idx="93">
                  <c:v>353.3242170609991</c:v>
                </c:pt>
                <c:pt idx="94">
                  <c:v>347.29900227971888</c:v>
                </c:pt>
                <c:pt idx="95">
                  <c:v>341.093640806726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70.3998151914526</c:v>
                </c:pt>
                <c:pt idx="43">
                  <c:v>280.40278473741057</c:v>
                </c:pt>
                <c:pt idx="44">
                  <c:v>290.62335066895088</c:v>
                </c:pt>
                <c:pt idx="45">
                  <c:v>300.75515198046963</c:v>
                </c:pt>
                <c:pt idx="46">
                  <c:v>310.52871456787591</c:v>
                </c:pt>
                <c:pt idx="47">
                  <c:v>320.05462566685856</c:v>
                </c:pt>
                <c:pt idx="48">
                  <c:v>329.58506951117863</c:v>
                </c:pt>
                <c:pt idx="49">
                  <c:v>339.25115878448537</c:v>
                </c:pt>
                <c:pt idx="50">
                  <c:v>349.02742166827306</c:v>
                </c:pt>
                <c:pt idx="51">
                  <c:v>359.2366127012113</c:v>
                </c:pt>
                <c:pt idx="52">
                  <c:v>369.4227037438576</c:v>
                </c:pt>
                <c:pt idx="53">
                  <c:v>378.82698546289771</c:v>
                </c:pt>
                <c:pt idx="54">
                  <c:v>387.93132854662997</c:v>
                </c:pt>
                <c:pt idx="55">
                  <c:v>397.00909078854636</c:v>
                </c:pt>
                <c:pt idx="56">
                  <c:v>406.15077596814047</c:v>
                </c:pt>
                <c:pt idx="57">
                  <c:v>415.35093743596633</c:v>
                </c:pt>
                <c:pt idx="58">
                  <c:v>424.59605989564227</c:v>
                </c:pt>
                <c:pt idx="59">
                  <c:v>433.80854886142833</c:v>
                </c:pt>
                <c:pt idx="60">
                  <c:v>442.71983293752709</c:v>
                </c:pt>
                <c:pt idx="61">
                  <c:v>451.3827589835916</c:v>
                </c:pt>
                <c:pt idx="62">
                  <c:v>459.81505956418073</c:v>
                </c:pt>
                <c:pt idx="63">
                  <c:v>468.02512094717838</c:v>
                </c:pt>
                <c:pt idx="64">
                  <c:v>475.95609482774375</c:v>
                </c:pt>
                <c:pt idx="65">
                  <c:v>483.64849302451364</c:v>
                </c:pt>
                <c:pt idx="66">
                  <c:v>491.03538827442242</c:v>
                </c:pt>
                <c:pt idx="67">
                  <c:v>498.10081285579002</c:v>
                </c:pt>
                <c:pt idx="68">
                  <c:v>504.74227280198943</c:v>
                </c:pt>
                <c:pt idx="69">
                  <c:v>510.9737735820305</c:v>
                </c:pt>
                <c:pt idx="70">
                  <c:v>516.82596403271032</c:v>
                </c:pt>
                <c:pt idx="71">
                  <c:v>522.13941764982019</c:v>
                </c:pt>
                <c:pt idx="72">
                  <c:v>526.99553072173433</c:v>
                </c:pt>
                <c:pt idx="73">
                  <c:v>531.38422582706119</c:v>
                </c:pt>
                <c:pt idx="74">
                  <c:v>535.22059629477792</c:v>
                </c:pt>
                <c:pt idx="75">
                  <c:v>538.52033877804524</c:v>
                </c:pt>
                <c:pt idx="76">
                  <c:v>541.27423327295401</c:v>
                </c:pt>
                <c:pt idx="77">
                  <c:v>543.51117695685798</c:v>
                </c:pt>
                <c:pt idx="78">
                  <c:v>545.11461868944616</c:v>
                </c:pt>
                <c:pt idx="79">
                  <c:v>546.17093757893713</c:v>
                </c:pt>
                <c:pt idx="80">
                  <c:v>546.66148655440679</c:v>
                </c:pt>
                <c:pt idx="81">
                  <c:v>546.516528687446</c:v>
                </c:pt>
                <c:pt idx="82">
                  <c:v>545.76015841325102</c:v>
                </c:pt>
                <c:pt idx="83">
                  <c:v>544.46715376026407</c:v>
                </c:pt>
                <c:pt idx="84">
                  <c:v>542.60576472083449</c:v>
                </c:pt>
                <c:pt idx="85">
                  <c:v>540.12058094452425</c:v>
                </c:pt>
                <c:pt idx="86">
                  <c:v>537.15938840084357</c:v>
                </c:pt>
                <c:pt idx="87">
                  <c:v>533.68549108379182</c:v>
                </c:pt>
                <c:pt idx="88">
                  <c:v>529.52434816093592</c:v>
                </c:pt>
                <c:pt idx="89">
                  <c:v>524.90474641590549</c:v>
                </c:pt>
                <c:pt idx="90">
                  <c:v>519.83127814615364</c:v>
                </c:pt>
                <c:pt idx="91">
                  <c:v>514.26992707081001</c:v>
                </c:pt>
                <c:pt idx="92">
                  <c:v>508.15290410332295</c:v>
                </c:pt>
                <c:pt idx="93">
                  <c:v>501.59053535581575</c:v>
                </c:pt>
                <c:pt idx="94">
                  <c:v>494.63104608019444</c:v>
                </c:pt>
                <c:pt idx="95">
                  <c:v>487.264861538127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71.05230019695307</c:v>
                </c:pt>
                <c:pt idx="43">
                  <c:v>281.94707332919222</c:v>
                </c:pt>
                <c:pt idx="44">
                  <c:v>293.31787342641752</c:v>
                </c:pt>
                <c:pt idx="45">
                  <c:v>304.86835213515849</c:v>
                </c:pt>
                <c:pt idx="46">
                  <c:v>316.34712552347526</c:v>
                </c:pt>
                <c:pt idx="47">
                  <c:v>327.86826180237199</c:v>
                </c:pt>
                <c:pt idx="48">
                  <c:v>339.69275477476498</c:v>
                </c:pt>
                <c:pt idx="49">
                  <c:v>351.95062078264294</c:v>
                </c:pt>
                <c:pt idx="50">
                  <c:v>364.62035189978627</c:v>
                </c:pt>
                <c:pt idx="51">
                  <c:v>378.02120705200673</c:v>
                </c:pt>
                <c:pt idx="52">
                  <c:v>391.69670546957695</c:v>
                </c:pt>
                <c:pt idx="53">
                  <c:v>404.88272305175792</c:v>
                </c:pt>
                <c:pt idx="54">
                  <c:v>418.05700698216214</c:v>
                </c:pt>
                <c:pt idx="55">
                  <c:v>431.48124959901224</c:v>
                </c:pt>
                <c:pt idx="56">
                  <c:v>445.228207676073</c:v>
                </c:pt>
                <c:pt idx="57">
                  <c:v>459.25824854054395</c:v>
                </c:pt>
                <c:pt idx="58">
                  <c:v>473.54682518021838</c:v>
                </c:pt>
                <c:pt idx="59">
                  <c:v>487.99830073699729</c:v>
                </c:pt>
                <c:pt idx="60">
                  <c:v>502.33033405633387</c:v>
                </c:pt>
                <c:pt idx="61">
                  <c:v>516.56937179455394</c:v>
                </c:pt>
                <c:pt idx="62">
                  <c:v>530.71154750551671</c:v>
                </c:pt>
                <c:pt idx="63">
                  <c:v>544.73984329135237</c:v>
                </c:pt>
                <c:pt idx="64">
                  <c:v>558.56538261864421</c:v>
                </c:pt>
                <c:pt idx="65">
                  <c:v>572.20002355604254</c:v>
                </c:pt>
                <c:pt idx="66">
                  <c:v>585.55096126203125</c:v>
                </c:pt>
                <c:pt idx="67">
                  <c:v>598.57255451413846</c:v>
                </c:pt>
                <c:pt idx="68">
                  <c:v>611.13406474162048</c:v>
                </c:pt>
                <c:pt idx="69">
                  <c:v>623.21970760650049</c:v>
                </c:pt>
                <c:pt idx="70">
                  <c:v>634.82913253828531</c:v>
                </c:pt>
                <c:pt idx="71">
                  <c:v>645.77225496602478</c:v>
                </c:pt>
                <c:pt idx="72">
                  <c:v>656.09920028262582</c:v>
                </c:pt>
                <c:pt idx="73">
                  <c:v>665.77077324196182</c:v>
                </c:pt>
                <c:pt idx="74">
                  <c:v>674.67439375429649</c:v>
                </c:pt>
                <c:pt idx="75">
                  <c:v>682.79856420949045</c:v>
                </c:pt>
                <c:pt idx="76">
                  <c:v>690.10825956343774</c:v>
                </c:pt>
                <c:pt idx="77">
                  <c:v>696.60918880115014</c:v>
                </c:pt>
                <c:pt idx="78">
                  <c:v>702.16224868817744</c:v>
                </c:pt>
                <c:pt idx="79">
                  <c:v>706.8344621660757</c:v>
                </c:pt>
                <c:pt idx="80">
                  <c:v>710.58965570255066</c:v>
                </c:pt>
                <c:pt idx="81">
                  <c:v>713.3429648761421</c:v>
                </c:pt>
                <c:pt idx="82">
                  <c:v>715.10522468146678</c:v>
                </c:pt>
                <c:pt idx="83">
                  <c:v>715.94163601588889</c:v>
                </c:pt>
                <c:pt idx="84">
                  <c:v>715.81313563868093</c:v>
                </c:pt>
                <c:pt idx="85">
                  <c:v>714.65970967930025</c:v>
                </c:pt>
                <c:pt idx="86">
                  <c:v>712.62724589847119</c:v>
                </c:pt>
                <c:pt idx="87">
                  <c:v>709.67978851359283</c:v>
                </c:pt>
                <c:pt idx="88">
                  <c:v>705.64544846929721</c:v>
                </c:pt>
                <c:pt idx="89">
                  <c:v>700.75921641903051</c:v>
                </c:pt>
                <c:pt idx="90">
                  <c:v>695.0331774606891</c:v>
                </c:pt>
                <c:pt idx="91">
                  <c:v>688.44345280050084</c:v>
                </c:pt>
                <c:pt idx="92">
                  <c:v>680.92564356022513</c:v>
                </c:pt>
                <c:pt idx="93">
                  <c:v>672.61002425632205</c:v>
                </c:pt>
                <c:pt idx="94">
                  <c:v>663.56039687088514</c:v>
                </c:pt>
                <c:pt idx="95">
                  <c:v>653.784290367008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5</c:v>
                </c:pt>
                <c:pt idx="1">
                  <c:v>15</c:v>
                </c:pt>
                <c:pt idx="2">
                  <c:v>14</c:v>
                </c:pt>
                <c:pt idx="3">
                  <c:v>14</c:v>
                </c:pt>
                <c:pt idx="4">
                  <c:v>14</c:v>
                </c:pt>
                <c:pt idx="5">
                  <c:v>14</c:v>
                </c:pt>
                <c:pt idx="6">
                  <c:v>15</c:v>
                </c:pt>
                <c:pt idx="7">
                  <c:v>13</c:v>
                </c:pt>
                <c:pt idx="8">
                  <c:v>16</c:v>
                </c:pt>
                <c:pt idx="9">
                  <c:v>19</c:v>
                </c:pt>
                <c:pt idx="10">
                  <c:v>18</c:v>
                </c:pt>
                <c:pt idx="11">
                  <c:v>20</c:v>
                </c:pt>
                <c:pt idx="12">
                  <c:v>22</c:v>
                </c:pt>
                <c:pt idx="13">
                  <c:v>26</c:v>
                </c:pt>
                <c:pt idx="14">
                  <c:v>24</c:v>
                </c:pt>
                <c:pt idx="15">
                  <c:v>21</c:v>
                </c:pt>
                <c:pt idx="16">
                  <c:v>24</c:v>
                </c:pt>
                <c:pt idx="17">
                  <c:v>26</c:v>
                </c:pt>
                <c:pt idx="18">
                  <c:v>32</c:v>
                </c:pt>
                <c:pt idx="19">
                  <c:v>30</c:v>
                </c:pt>
                <c:pt idx="20">
                  <c:v>35</c:v>
                </c:pt>
                <c:pt idx="21">
                  <c:v>35</c:v>
                </c:pt>
                <c:pt idx="22">
                  <c:v>31</c:v>
                </c:pt>
                <c:pt idx="23">
                  <c:v>36</c:v>
                </c:pt>
                <c:pt idx="24">
                  <c:v>41</c:v>
                </c:pt>
                <c:pt idx="25">
                  <c:v>46</c:v>
                </c:pt>
                <c:pt idx="26">
                  <c:v>48</c:v>
                </c:pt>
                <c:pt idx="27">
                  <c:v>52</c:v>
                </c:pt>
                <c:pt idx="28">
                  <c:v>65</c:v>
                </c:pt>
                <c:pt idx="29">
                  <c:v>66</c:v>
                </c:pt>
                <c:pt idx="30">
                  <c:v>77</c:v>
                </c:pt>
                <c:pt idx="31">
                  <c:v>98</c:v>
                </c:pt>
                <c:pt idx="32">
                  <c:v>110</c:v>
                </c:pt>
                <c:pt idx="33">
                  <c:v>120</c:v>
                </c:pt>
                <c:pt idx="34">
                  <c:v>132</c:v>
                </c:pt>
                <c:pt idx="35">
                  <c:v>147</c:v>
                </c:pt>
                <c:pt idx="36">
                  <c:v>152</c:v>
                </c:pt>
                <c:pt idx="37">
                  <c:v>152</c:v>
                </c:pt>
                <c:pt idx="38">
                  <c:v>176</c:v>
                </c:pt>
                <c:pt idx="39">
                  <c:v>190</c:v>
                </c:pt>
                <c:pt idx="40">
                  <c:v>199</c:v>
                </c:pt>
                <c:pt idx="41">
                  <c:v>203</c:v>
                </c:pt>
                <c:pt idx="42">
                  <c:v>218</c:v>
                </c:pt>
                <c:pt idx="43">
                  <c:v>196</c:v>
                </c:pt>
                <c:pt idx="44">
                  <c:v>208</c:v>
                </c:pt>
                <c:pt idx="45">
                  <c:v>243</c:v>
                </c:pt>
                <c:pt idx="46">
                  <c:v>2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05.30398741654744</c:v>
                </c:pt>
                <c:pt idx="43">
                  <c:v>212.16506132543049</c:v>
                </c:pt>
                <c:pt idx="44">
                  <c:v>219.00463881174005</c:v>
                </c:pt>
                <c:pt idx="45">
                  <c:v>225.58083101533225</c:v>
                </c:pt>
                <c:pt idx="46">
                  <c:v>231.67188950520628</c:v>
                </c:pt>
                <c:pt idx="47">
                  <c:v>237.37183181529539</c:v>
                </c:pt>
                <c:pt idx="48">
                  <c:v>242.88168728602824</c:v>
                </c:pt>
                <c:pt idx="49">
                  <c:v>248.30531408590403</c:v>
                </c:pt>
                <c:pt idx="50">
                  <c:v>253.62106976283746</c:v>
                </c:pt>
                <c:pt idx="51">
                  <c:v>259.08635901998707</c:v>
                </c:pt>
                <c:pt idx="52">
                  <c:v>264.35746902688737</c:v>
                </c:pt>
                <c:pt idx="53">
                  <c:v>268.855840090274</c:v>
                </c:pt>
                <c:pt idx="54">
                  <c:v>272.95318977950376</c:v>
                </c:pt>
                <c:pt idx="55">
                  <c:v>276.87800911275144</c:v>
                </c:pt>
                <c:pt idx="56">
                  <c:v>280.71483700315946</c:v>
                </c:pt>
                <c:pt idx="57">
                  <c:v>284.49072293181547</c:v>
                </c:pt>
                <c:pt idx="58">
                  <c:v>288.19705308337677</c:v>
                </c:pt>
                <c:pt idx="59">
                  <c:v>291.78888457344129</c:v>
                </c:pt>
                <c:pt idx="60">
                  <c:v>295.07516660506099</c:v>
                </c:pt>
                <c:pt idx="61">
                  <c:v>298.10707582344708</c:v>
                </c:pt>
                <c:pt idx="62">
                  <c:v>300.91455614207121</c:v>
                </c:pt>
                <c:pt idx="63">
                  <c:v>303.51902726766315</c:v>
                </c:pt>
                <c:pt idx="64">
                  <c:v>305.89602302629663</c:v>
                </c:pt>
                <c:pt idx="65">
                  <c:v>308.09302501554265</c:v>
                </c:pt>
                <c:pt idx="66">
                  <c:v>310.07244311102409</c:v>
                </c:pt>
                <c:pt idx="67">
                  <c:v>311.83966647621008</c:v>
                </c:pt>
                <c:pt idx="68">
                  <c:v>313.32824358044422</c:v>
                </c:pt>
                <c:pt idx="69">
                  <c:v>314.56581932197184</c:v>
                </c:pt>
                <c:pt idx="70">
                  <c:v>315.5880387776848</c:v>
                </c:pt>
                <c:pt idx="71">
                  <c:v>316.28829896164984</c:v>
                </c:pt>
                <c:pt idx="72">
                  <c:v>316.74284147352864</c:v>
                </c:pt>
                <c:pt idx="73">
                  <c:v>316.95834183075453</c:v>
                </c:pt>
                <c:pt idx="74">
                  <c:v>316.88425550365218</c:v>
                </c:pt>
                <c:pt idx="75">
                  <c:v>316.5421647221799</c:v>
                </c:pt>
                <c:pt idx="76">
                  <c:v>315.93745701882102</c:v>
                </c:pt>
                <c:pt idx="77">
                  <c:v>315.09880985132037</c:v>
                </c:pt>
                <c:pt idx="78">
                  <c:v>313.94888650970563</c:v>
                </c:pt>
                <c:pt idx="79">
                  <c:v>312.55885546266478</c:v>
                </c:pt>
                <c:pt idx="80">
                  <c:v>310.92390220074822</c:v>
                </c:pt>
                <c:pt idx="81">
                  <c:v>308.99965314661335</c:v>
                </c:pt>
                <c:pt idx="82">
                  <c:v>306.80554785704197</c:v>
                </c:pt>
                <c:pt idx="83">
                  <c:v>304.40293300934661</c:v>
                </c:pt>
                <c:pt idx="84">
                  <c:v>301.76994656242783</c:v>
                </c:pt>
                <c:pt idx="85">
                  <c:v>298.86463181440024</c:v>
                </c:pt>
                <c:pt idx="86">
                  <c:v>295.79946990126984</c:v>
                </c:pt>
                <c:pt idx="87">
                  <c:v>292.54731946873636</c:v>
                </c:pt>
                <c:pt idx="88">
                  <c:v>288.98085082622049</c:v>
                </c:pt>
                <c:pt idx="89">
                  <c:v>285.26470646636432</c:v>
                </c:pt>
                <c:pt idx="90">
                  <c:v>281.40000362266431</c:v>
                </c:pt>
                <c:pt idx="91">
                  <c:v>277.35755315888292</c:v>
                </c:pt>
                <c:pt idx="92">
                  <c:v>273.0866945717699</c:v>
                </c:pt>
                <c:pt idx="93">
                  <c:v>268.66201692293595</c:v>
                </c:pt>
                <c:pt idx="94">
                  <c:v>264.11480590353591</c:v>
                </c:pt>
                <c:pt idx="95">
                  <c:v>259.430474960295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05.79157725218562</c:v>
                </c:pt>
                <c:pt idx="43">
                  <c:v>213.3152814241769</c:v>
                </c:pt>
                <c:pt idx="44">
                  <c:v>221.00417477512752</c:v>
                </c:pt>
                <c:pt idx="45">
                  <c:v>228.62066853796813</c:v>
                </c:pt>
                <c:pt idx="46">
                  <c:v>235.95266908587024</c:v>
                </c:pt>
                <c:pt idx="47">
                  <c:v>243.09296210898691</c:v>
                </c:pt>
                <c:pt idx="48">
                  <c:v>250.24506198609691</c:v>
                </c:pt>
                <c:pt idx="49">
                  <c:v>257.50777729266525</c:v>
                </c:pt>
                <c:pt idx="50">
                  <c:v>264.85830405505493</c:v>
                </c:pt>
                <c:pt idx="51">
                  <c:v>272.54741645885929</c:v>
                </c:pt>
                <c:pt idx="52">
                  <c:v>280.2273823526362</c:v>
                </c:pt>
                <c:pt idx="53">
                  <c:v>287.31202727170808</c:v>
                </c:pt>
                <c:pt idx="54">
                  <c:v>294.16681781701175</c:v>
                </c:pt>
                <c:pt idx="55">
                  <c:v>301.00912821211864</c:v>
                </c:pt>
                <c:pt idx="56">
                  <c:v>307.90822173048832</c:v>
                </c:pt>
                <c:pt idx="57">
                  <c:v>314.86390202863146</c:v>
                </c:pt>
                <c:pt idx="58">
                  <c:v>321.85867635461125</c:v>
                </c:pt>
                <c:pt idx="59">
                  <c:v>328.83419096037198</c:v>
                </c:pt>
                <c:pt idx="60">
                  <c:v>335.59010909565319</c:v>
                </c:pt>
                <c:pt idx="61">
                  <c:v>342.15955052415359</c:v>
                </c:pt>
                <c:pt idx="62">
                  <c:v>348.55897061919711</c:v>
                </c:pt>
                <c:pt idx="63">
                  <c:v>354.79408637950019</c:v>
                </c:pt>
                <c:pt idx="64">
                  <c:v>360.82090723350632</c:v>
                </c:pt>
                <c:pt idx="65">
                  <c:v>366.67036990171732</c:v>
                </c:pt>
                <c:pt idx="66">
                  <c:v>372.29121199235237</c:v>
                </c:pt>
                <c:pt idx="67">
                  <c:v>377.67299256147425</c:v>
                </c:pt>
                <c:pt idx="68">
                  <c:v>382.73514487022976</c:v>
                </c:pt>
                <c:pt idx="69">
                  <c:v>387.49058949192499</c:v>
                </c:pt>
                <c:pt idx="70">
                  <c:v>391.95973615290973</c:v>
                </c:pt>
                <c:pt idx="71">
                  <c:v>396.02137539660509</c:v>
                </c:pt>
                <c:pt idx="72">
                  <c:v>399.73680261548066</c:v>
                </c:pt>
                <c:pt idx="73">
                  <c:v>403.09954413642845</c:v>
                </c:pt>
                <c:pt idx="74">
                  <c:v>406.04682224496543</c:v>
                </c:pt>
                <c:pt idx="75">
                  <c:v>408.58825592590313</c:v>
                </c:pt>
                <c:pt idx="76">
                  <c:v>410.71804830582903</c:v>
                </c:pt>
                <c:pt idx="77">
                  <c:v>412.45530392943908</c:v>
                </c:pt>
                <c:pt idx="78">
                  <c:v>413.71309980739579</c:v>
                </c:pt>
                <c:pt idx="79">
                  <c:v>414.5547961559995</c:v>
                </c:pt>
                <c:pt idx="80">
                  <c:v>414.96847714342482</c:v>
                </c:pt>
                <c:pt idx="81">
                  <c:v>414.90371137208342</c:v>
                </c:pt>
                <c:pt idx="82">
                  <c:v>414.37447475290855</c:v>
                </c:pt>
                <c:pt idx="83">
                  <c:v>413.43850240149686</c:v>
                </c:pt>
                <c:pt idx="84">
                  <c:v>412.07110686488807</c:v>
                </c:pt>
                <c:pt idx="85">
                  <c:v>410.22858992966053</c:v>
                </c:pt>
                <c:pt idx="86">
                  <c:v>408.02276079689602</c:v>
                </c:pt>
                <c:pt idx="87">
                  <c:v>405.42683121423744</c:v>
                </c:pt>
                <c:pt idx="88">
                  <c:v>402.31434084226112</c:v>
                </c:pt>
                <c:pt idx="89">
                  <c:v>398.85252952948053</c:v>
                </c:pt>
                <c:pt idx="90">
                  <c:v>395.04524298067821</c:v>
                </c:pt>
                <c:pt idx="91">
                  <c:v>390.8671812477902</c:v>
                </c:pt>
                <c:pt idx="92">
                  <c:v>386.26602370541468</c:v>
                </c:pt>
                <c:pt idx="93">
                  <c:v>381.32605825332803</c:v>
                </c:pt>
                <c:pt idx="94">
                  <c:v>376.08456082635206</c:v>
                </c:pt>
                <c:pt idx="95">
                  <c:v>370.533570406616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06.28226395989896</c:v>
                </c:pt>
                <c:pt idx="43">
                  <c:v>214.47656423678592</c:v>
                </c:pt>
                <c:pt idx="44">
                  <c:v>223.03071575832385</c:v>
                </c:pt>
                <c:pt idx="45">
                  <c:v>231.71499152036958</c:v>
                </c:pt>
                <c:pt idx="46">
                  <c:v>240.33088937450054</c:v>
                </c:pt>
                <c:pt idx="47">
                  <c:v>248.9741209853963</c:v>
                </c:pt>
                <c:pt idx="48">
                  <c:v>257.8550205416949</c:v>
                </c:pt>
                <c:pt idx="49">
                  <c:v>267.0717239228469</c:v>
                </c:pt>
                <c:pt idx="50">
                  <c:v>276.60460812506807</c:v>
                </c:pt>
                <c:pt idx="51">
                  <c:v>286.70200818926514</c:v>
                </c:pt>
                <c:pt idx="52">
                  <c:v>297.01613895239626</c:v>
                </c:pt>
                <c:pt idx="53">
                  <c:v>306.95681883958633</c:v>
                </c:pt>
                <c:pt idx="54">
                  <c:v>316.88645301942068</c:v>
                </c:pt>
                <c:pt idx="55">
                  <c:v>327.01396335454007</c:v>
                </c:pt>
                <c:pt idx="56">
                  <c:v>337.39542289205554</c:v>
                </c:pt>
                <c:pt idx="57">
                  <c:v>348.0047142078397</c:v>
                </c:pt>
                <c:pt idx="58">
                  <c:v>358.81610889205103</c:v>
                </c:pt>
                <c:pt idx="59">
                  <c:v>369.75770397553981</c:v>
                </c:pt>
                <c:pt idx="60">
                  <c:v>380.61889967570153</c:v>
                </c:pt>
                <c:pt idx="61">
                  <c:v>391.41288295879235</c:v>
                </c:pt>
                <c:pt idx="62">
                  <c:v>402.13986531745115</c:v>
                </c:pt>
                <c:pt idx="63">
                  <c:v>412.78623605431829</c:v>
                </c:pt>
                <c:pt idx="64">
                  <c:v>423.28398169363538</c:v>
                </c:pt>
                <c:pt idx="65">
                  <c:v>433.64226636107355</c:v>
                </c:pt>
                <c:pt idx="66">
                  <c:v>443.7902511902214</c:v>
                </c:pt>
                <c:pt idx="67">
                  <c:v>453.69500493881139</c:v>
                </c:pt>
                <c:pt idx="68">
                  <c:v>463.25454365950674</c:v>
                </c:pt>
                <c:pt idx="69">
                  <c:v>472.45920383880303</c:v>
                </c:pt>
                <c:pt idx="70">
                  <c:v>481.30585253816247</c:v>
                </c:pt>
                <c:pt idx="71">
                  <c:v>489.65002414014384</c:v>
                </c:pt>
                <c:pt idx="72">
                  <c:v>497.5292293139745</c:v>
                </c:pt>
                <c:pt idx="73">
                  <c:v>504.91493067192141</c:v>
                </c:pt>
                <c:pt idx="74">
                  <c:v>511.72322092240267</c:v>
                </c:pt>
                <c:pt idx="75">
                  <c:v>517.94299455837609</c:v>
                </c:pt>
                <c:pt idx="76">
                  <c:v>523.54876824355961</c:v>
                </c:pt>
                <c:pt idx="77">
                  <c:v>528.54195278590578</c:v>
                </c:pt>
                <c:pt idx="78">
                  <c:v>532.81840858302121</c:v>
                </c:pt>
                <c:pt idx="79">
                  <c:v>536.42665608804305</c:v>
                </c:pt>
                <c:pt idx="80">
                  <c:v>539.34133156659084</c:v>
                </c:pt>
                <c:pt idx="81">
                  <c:v>541.50036645261241</c:v>
                </c:pt>
                <c:pt idx="82">
                  <c:v>542.90753195491288</c:v>
                </c:pt>
                <c:pt idx="83">
                  <c:v>543.61311118641902</c:v>
                </c:pt>
                <c:pt idx="84">
                  <c:v>543.58669333643297</c:v>
                </c:pt>
                <c:pt idx="85">
                  <c:v>542.78091120215788</c:v>
                </c:pt>
                <c:pt idx="86">
                  <c:v>541.30595785197875</c:v>
                </c:pt>
                <c:pt idx="87">
                  <c:v>539.1354330986029</c:v>
                </c:pt>
                <c:pt idx="88">
                  <c:v>536.14474157192535</c:v>
                </c:pt>
                <c:pt idx="89">
                  <c:v>532.50565318562531</c:v>
                </c:pt>
                <c:pt idx="90">
                  <c:v>528.22756636319991</c:v>
                </c:pt>
                <c:pt idx="91">
                  <c:v>523.29273625720452</c:v>
                </c:pt>
                <c:pt idx="92">
                  <c:v>517.65158677415684</c:v>
                </c:pt>
                <c:pt idx="93">
                  <c:v>511.40323127199105</c:v>
                </c:pt>
                <c:pt idx="94">
                  <c:v>504.59667250559716</c:v>
                </c:pt>
                <c:pt idx="95">
                  <c:v>497.236848035166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5</c:v>
                </c:pt>
                <c:pt idx="1">
                  <c:v>6</c:v>
                </c:pt>
                <c:pt idx="2">
                  <c:v>5</c:v>
                </c:pt>
                <c:pt idx="3">
                  <c:v>4</c:v>
                </c:pt>
                <c:pt idx="4">
                  <c:v>3</c:v>
                </c:pt>
                <c:pt idx="5">
                  <c:v>4</c:v>
                </c:pt>
                <c:pt idx="6">
                  <c:v>4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5</c:v>
                </c:pt>
                <c:pt idx="12">
                  <c:v>6</c:v>
                </c:pt>
                <c:pt idx="13">
                  <c:v>8</c:v>
                </c:pt>
                <c:pt idx="14">
                  <c:v>9</c:v>
                </c:pt>
                <c:pt idx="15">
                  <c:v>8</c:v>
                </c:pt>
                <c:pt idx="16">
                  <c:v>8</c:v>
                </c:pt>
                <c:pt idx="17">
                  <c:v>11</c:v>
                </c:pt>
                <c:pt idx="18">
                  <c:v>13</c:v>
                </c:pt>
                <c:pt idx="19">
                  <c:v>13</c:v>
                </c:pt>
                <c:pt idx="20">
                  <c:v>14</c:v>
                </c:pt>
                <c:pt idx="21">
                  <c:v>14</c:v>
                </c:pt>
                <c:pt idx="22">
                  <c:v>16</c:v>
                </c:pt>
                <c:pt idx="23">
                  <c:v>15</c:v>
                </c:pt>
                <c:pt idx="24">
                  <c:v>17</c:v>
                </c:pt>
                <c:pt idx="25">
                  <c:v>14</c:v>
                </c:pt>
                <c:pt idx="26">
                  <c:v>12</c:v>
                </c:pt>
                <c:pt idx="27">
                  <c:v>13</c:v>
                </c:pt>
                <c:pt idx="28">
                  <c:v>10</c:v>
                </c:pt>
                <c:pt idx="29">
                  <c:v>12</c:v>
                </c:pt>
                <c:pt idx="30">
                  <c:v>14</c:v>
                </c:pt>
                <c:pt idx="31">
                  <c:v>11</c:v>
                </c:pt>
                <c:pt idx="32">
                  <c:v>16</c:v>
                </c:pt>
                <c:pt idx="33">
                  <c:v>19</c:v>
                </c:pt>
                <c:pt idx="34">
                  <c:v>19</c:v>
                </c:pt>
                <c:pt idx="35">
                  <c:v>21</c:v>
                </c:pt>
                <c:pt idx="36">
                  <c:v>24</c:v>
                </c:pt>
                <c:pt idx="37">
                  <c:v>24</c:v>
                </c:pt>
                <c:pt idx="38">
                  <c:v>30</c:v>
                </c:pt>
                <c:pt idx="39">
                  <c:v>33</c:v>
                </c:pt>
                <c:pt idx="40">
                  <c:v>39</c:v>
                </c:pt>
                <c:pt idx="41">
                  <c:v>45</c:v>
                </c:pt>
                <c:pt idx="42">
                  <c:v>47</c:v>
                </c:pt>
                <c:pt idx="43">
                  <c:v>36</c:v>
                </c:pt>
                <c:pt idx="44">
                  <c:v>35</c:v>
                </c:pt>
                <c:pt idx="45">
                  <c:v>44</c:v>
                </c:pt>
                <c:pt idx="46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2.132309679853407</c:v>
                </c:pt>
                <c:pt idx="43">
                  <c:v>43.644535650061542</c:v>
                </c:pt>
                <c:pt idx="44">
                  <c:v>45.150412618031922</c:v>
                </c:pt>
                <c:pt idx="45">
                  <c:v>46.606320674347728</c:v>
                </c:pt>
                <c:pt idx="46">
                  <c:v>47.975542902913695</c:v>
                </c:pt>
                <c:pt idx="47">
                  <c:v>49.266735567768237</c:v>
                </c:pt>
                <c:pt idx="48">
                  <c:v>50.506512919494881</c:v>
                </c:pt>
                <c:pt idx="49">
                  <c:v>51.717688101474025</c:v>
                </c:pt>
                <c:pt idx="50">
                  <c:v>52.900437253770654</c:v>
                </c:pt>
                <c:pt idx="51">
                  <c:v>54.101318610459487</c:v>
                </c:pt>
                <c:pt idx="52">
                  <c:v>55.25101839060747</c:v>
                </c:pt>
                <c:pt idx="53">
                  <c:v>56.242132423984948</c:v>
                </c:pt>
                <c:pt idx="54">
                  <c:v>57.152667388772841</c:v>
                </c:pt>
                <c:pt idx="55">
                  <c:v>58.018089990361403</c:v>
                </c:pt>
                <c:pt idx="56">
                  <c:v>58.85562778995282</c:v>
                </c:pt>
                <c:pt idx="57">
                  <c:v>59.665850009219099</c:v>
                </c:pt>
                <c:pt idx="58">
                  <c:v>60.456364645078921</c:v>
                </c:pt>
                <c:pt idx="59">
                  <c:v>61.217214818145663</c:v>
                </c:pt>
                <c:pt idx="60">
                  <c:v>61.90418260712795</c:v>
                </c:pt>
                <c:pt idx="61">
                  <c:v>62.536986073283373</c:v>
                </c:pt>
                <c:pt idx="62">
                  <c:v>63.118139102205546</c:v>
                </c:pt>
                <c:pt idx="63">
                  <c:v>63.652805276930621</c:v>
                </c:pt>
                <c:pt idx="64">
                  <c:v>64.137245007132393</c:v>
                </c:pt>
                <c:pt idx="65">
                  <c:v>64.581017541409039</c:v>
                </c:pt>
                <c:pt idx="66">
                  <c:v>64.976881781218111</c:v>
                </c:pt>
                <c:pt idx="67">
                  <c:v>65.323779663126302</c:v>
                </c:pt>
                <c:pt idx="68">
                  <c:v>65.611367965622833</c:v>
                </c:pt>
                <c:pt idx="69">
                  <c:v>65.842457353755918</c:v>
                </c:pt>
                <c:pt idx="70">
                  <c:v>66.028091229506188</c:v>
                </c:pt>
                <c:pt idx="71">
                  <c:v>66.146264474976533</c:v>
                </c:pt>
                <c:pt idx="72">
                  <c:v>66.213428136499147</c:v>
                </c:pt>
                <c:pt idx="73">
                  <c:v>66.229504114593965</c:v>
                </c:pt>
                <c:pt idx="74">
                  <c:v>66.181644159739832</c:v>
                </c:pt>
                <c:pt idx="75">
                  <c:v>66.077208709624713</c:v>
                </c:pt>
                <c:pt idx="76">
                  <c:v>65.915679992365597</c:v>
                </c:pt>
                <c:pt idx="77">
                  <c:v>65.706597617614293</c:v>
                </c:pt>
                <c:pt idx="78">
                  <c:v>65.43176725753662</c:v>
                </c:pt>
                <c:pt idx="79">
                  <c:v>65.108746156322894</c:v>
                </c:pt>
                <c:pt idx="80">
                  <c:v>64.733544784320884</c:v>
                </c:pt>
                <c:pt idx="81">
                  <c:v>64.293576475906278</c:v>
                </c:pt>
                <c:pt idx="82">
                  <c:v>63.798348044793833</c:v>
                </c:pt>
                <c:pt idx="83">
                  <c:v>63.259272236190583</c:v>
                </c:pt>
                <c:pt idx="84">
                  <c:v>62.672424642165026</c:v>
                </c:pt>
                <c:pt idx="85">
                  <c:v>62.031038584734887</c:v>
                </c:pt>
                <c:pt idx="86">
                  <c:v>61.358940153002138</c:v>
                </c:pt>
                <c:pt idx="87">
                  <c:v>60.648983916591689</c:v>
                </c:pt>
                <c:pt idx="88">
                  <c:v>59.866783393743297</c:v>
                </c:pt>
                <c:pt idx="89">
                  <c:v>59.054812837913111</c:v>
                </c:pt>
                <c:pt idx="90">
                  <c:v>58.212771086320274</c:v>
                </c:pt>
                <c:pt idx="91">
                  <c:v>57.333815460798853</c:v>
                </c:pt>
                <c:pt idx="92">
                  <c:v>56.408792211112242</c:v>
                </c:pt>
                <c:pt idx="93">
                  <c:v>55.452237255862201</c:v>
                </c:pt>
                <c:pt idx="94">
                  <c:v>54.469761740178178</c:v>
                </c:pt>
                <c:pt idx="95">
                  <c:v>53.4591630331365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2.239899018195388</c:v>
                </c:pt>
                <c:pt idx="43">
                  <c:v>43.898421938090792</c:v>
                </c:pt>
                <c:pt idx="44">
                  <c:v>45.591383177072352</c:v>
                </c:pt>
                <c:pt idx="45">
                  <c:v>47.275688051352247</c:v>
                </c:pt>
                <c:pt idx="46">
                  <c:v>48.916776912710503</c:v>
                </c:pt>
                <c:pt idx="47">
                  <c:v>50.522652148361701</c:v>
                </c:pt>
                <c:pt idx="48">
                  <c:v>52.120247262456445</c:v>
                </c:pt>
                <c:pt idx="49">
                  <c:v>53.731094043275988</c:v>
                </c:pt>
                <c:pt idx="50">
                  <c:v>55.354889872030597</c:v>
                </c:pt>
                <c:pt idx="51">
                  <c:v>57.036527893055535</c:v>
                </c:pt>
                <c:pt idx="52">
                  <c:v>58.705486481266789</c:v>
                </c:pt>
                <c:pt idx="53">
                  <c:v>60.252654203115043</c:v>
                </c:pt>
                <c:pt idx="54">
                  <c:v>61.754668994936672</c:v>
                </c:pt>
                <c:pt idx="55">
                  <c:v>63.244196775699919</c:v>
                </c:pt>
                <c:pt idx="56">
                  <c:v>64.734962285338298</c:v>
                </c:pt>
                <c:pt idx="57">
                  <c:v>66.221867599519683</c:v>
                </c:pt>
                <c:pt idx="58">
                  <c:v>67.710552385257159</c:v>
                </c:pt>
                <c:pt idx="59">
                  <c:v>69.188141864946374</c:v>
                </c:pt>
                <c:pt idx="60">
                  <c:v>70.608311659953387</c:v>
                </c:pt>
                <c:pt idx="61">
                  <c:v>71.986953333283708</c:v>
                </c:pt>
                <c:pt idx="62">
                  <c:v>73.323653689846878</c:v>
                </c:pt>
                <c:pt idx="63">
                  <c:v>74.620438511019387</c:v>
                </c:pt>
                <c:pt idx="64">
                  <c:v>75.86920751029254</c:v>
                </c:pt>
                <c:pt idx="65">
                  <c:v>77.076176617608866</c:v>
                </c:pt>
                <c:pt idx="66">
                  <c:v>78.231242050206788</c:v>
                </c:pt>
                <c:pt idx="67">
                  <c:v>79.330068694591418</c:v>
                </c:pt>
                <c:pt idx="68">
                  <c:v>80.359401429467653</c:v>
                </c:pt>
                <c:pt idx="69">
                  <c:v>81.318995805862983</c:v>
                </c:pt>
                <c:pt idx="70">
                  <c:v>82.216775752122203</c:v>
                </c:pt>
                <c:pt idx="71">
                  <c:v>83.027703104049976</c:v>
                </c:pt>
                <c:pt idx="72">
                  <c:v>83.765194658387969</c:v>
                </c:pt>
                <c:pt idx="73">
                  <c:v>84.426390001535424</c:v>
                </c:pt>
                <c:pt idx="74">
                  <c:v>84.996044861625535</c:v>
                </c:pt>
                <c:pt idx="75">
                  <c:v>85.479114154924375</c:v>
                </c:pt>
                <c:pt idx="76">
                  <c:v>85.872845326168914</c:v>
                </c:pt>
                <c:pt idx="77">
                  <c:v>86.184858618785512</c:v>
                </c:pt>
                <c:pt idx="78">
                  <c:v>86.395032965406386</c:v>
                </c:pt>
                <c:pt idx="79">
                  <c:v>86.519421401894107</c:v>
                </c:pt>
                <c:pt idx="80">
                  <c:v>86.552663389721829</c:v>
                </c:pt>
                <c:pt idx="81">
                  <c:v>86.481022696435559</c:v>
                </c:pt>
                <c:pt idx="82">
                  <c:v>86.312954014992243</c:v>
                </c:pt>
                <c:pt idx="83">
                  <c:v>86.059252141137364</c:v>
                </c:pt>
                <c:pt idx="84">
                  <c:v>85.715520524474684</c:v>
                </c:pt>
                <c:pt idx="85">
                  <c:v>85.274746083055788</c:v>
                </c:pt>
                <c:pt idx="86">
                  <c:v>84.760730499977001</c:v>
                </c:pt>
                <c:pt idx="87">
                  <c:v>84.16651556937336</c:v>
                </c:pt>
                <c:pt idx="88">
                  <c:v>83.457977890806916</c:v>
                </c:pt>
                <c:pt idx="89">
                  <c:v>82.678258050735977</c:v>
                </c:pt>
                <c:pt idx="90">
                  <c:v>81.827696272937246</c:v>
                </c:pt>
                <c:pt idx="91">
                  <c:v>80.900345713490225</c:v>
                </c:pt>
                <c:pt idx="92">
                  <c:v>79.886400672645067</c:v>
                </c:pt>
                <c:pt idx="93">
                  <c:v>78.80274846901564</c:v>
                </c:pt>
                <c:pt idx="94">
                  <c:v>77.656305772582385</c:v>
                </c:pt>
                <c:pt idx="95">
                  <c:v>76.4463018119609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2.348166887148963</c:v>
                </c:pt>
                <c:pt idx="43">
                  <c:v>44.15473784912092</c:v>
                </c:pt>
                <c:pt idx="44">
                  <c:v>46.038289980930614</c:v>
                </c:pt>
                <c:pt idx="45">
                  <c:v>47.957032974123081</c:v>
                </c:pt>
                <c:pt idx="46">
                  <c:v>49.879422709771639</c:v>
                </c:pt>
                <c:pt idx="47">
                  <c:v>51.813707722559322</c:v>
                </c:pt>
                <c:pt idx="48">
                  <c:v>53.788073824130407</c:v>
                </c:pt>
                <c:pt idx="49">
                  <c:v>55.823707640754115</c:v>
                </c:pt>
                <c:pt idx="50">
                  <c:v>57.920749171886868</c:v>
                </c:pt>
                <c:pt idx="51">
                  <c:v>60.123307556065299</c:v>
                </c:pt>
                <c:pt idx="52">
                  <c:v>62.360476983660959</c:v>
                </c:pt>
                <c:pt idx="53">
                  <c:v>64.522177692110006</c:v>
                </c:pt>
                <c:pt idx="54">
                  <c:v>66.684320854327552</c:v>
                </c:pt>
                <c:pt idx="55">
                  <c:v>68.877292146705315</c:v>
                </c:pt>
                <c:pt idx="56">
                  <c:v>71.111703728920617</c:v>
                </c:pt>
                <c:pt idx="57">
                  <c:v>73.377013411522029</c:v>
                </c:pt>
                <c:pt idx="58">
                  <c:v>75.676965286920279</c:v>
                </c:pt>
                <c:pt idx="59">
                  <c:v>77.995670192650763</c:v>
                </c:pt>
                <c:pt idx="60">
                  <c:v>80.284419744003586</c:v>
                </c:pt>
                <c:pt idx="61">
                  <c:v>82.554809967531071</c:v>
                </c:pt>
                <c:pt idx="62">
                  <c:v>84.802844602093288</c:v>
                </c:pt>
                <c:pt idx="63">
                  <c:v>87.026573982462111</c:v>
                </c:pt>
                <c:pt idx="64">
                  <c:v>89.212515348334875</c:v>
                </c:pt>
                <c:pt idx="65">
                  <c:v>91.362371180957268</c:v>
                </c:pt>
                <c:pt idx="66">
                  <c:v>93.461868358226582</c:v>
                </c:pt>
                <c:pt idx="67">
                  <c:v>95.501936218493526</c:v>
                </c:pt>
                <c:pt idx="68">
                  <c:v>97.464822782972306</c:v>
                </c:pt>
                <c:pt idx="69">
                  <c:v>99.345535556133981</c:v>
                </c:pt>
                <c:pt idx="70">
                  <c:v>101.14710232854478</c:v>
                </c:pt>
                <c:pt idx="71">
                  <c:v>102.83961338018743</c:v>
                </c:pt>
                <c:pt idx="72">
                  <c:v>104.43158507454004</c:v>
                </c:pt>
                <c:pt idx="73">
                  <c:v>105.91550429712126</c:v>
                </c:pt>
                <c:pt idx="74">
                  <c:v>107.2718773281422</c:v>
                </c:pt>
                <c:pt idx="75">
                  <c:v>108.5014410169259</c:v>
                </c:pt>
                <c:pt idx="76">
                  <c:v>109.59746246863483</c:v>
                </c:pt>
                <c:pt idx="77">
                  <c:v>110.56398914893263</c:v>
                </c:pt>
                <c:pt idx="78">
                  <c:v>111.37743409477279</c:v>
                </c:pt>
                <c:pt idx="79">
                  <c:v>112.05094333402701</c:v>
                </c:pt>
                <c:pt idx="80">
                  <c:v>112.57653585579064</c:v>
                </c:pt>
                <c:pt idx="81">
                  <c:v>112.93824587436873</c:v>
                </c:pt>
                <c:pt idx="82">
                  <c:v>113.14257877193167</c:v>
                </c:pt>
                <c:pt idx="83">
                  <c:v>113.19900878948189</c:v>
                </c:pt>
                <c:pt idx="84">
                  <c:v>113.10216636964255</c:v>
                </c:pt>
                <c:pt idx="85">
                  <c:v>112.84449720824219</c:v>
                </c:pt>
                <c:pt idx="86">
                  <c:v>112.44969088625419</c:v>
                </c:pt>
                <c:pt idx="87">
                  <c:v>111.91109335885938</c:v>
                </c:pt>
                <c:pt idx="88">
                  <c:v>111.19516023825202</c:v>
                </c:pt>
                <c:pt idx="89">
                  <c:v>110.34620717003041</c:v>
                </c:pt>
                <c:pt idx="90">
                  <c:v>109.36590594133736</c:v>
                </c:pt>
                <c:pt idx="91">
                  <c:v>108.25006558427043</c:v>
                </c:pt>
                <c:pt idx="92">
                  <c:v>106.98923321524876</c:v>
                </c:pt>
                <c:pt idx="93">
                  <c:v>105.60379582670724</c:v>
                </c:pt>
                <c:pt idx="94">
                  <c:v>104.10324111225887</c:v>
                </c:pt>
                <c:pt idx="95">
                  <c:v>102.48959749389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3</c:v>
                </c:pt>
                <c:pt idx="1">
                  <c:v>2</c:v>
                </c:pt>
                <c:pt idx="2">
                  <c:v>2</c:v>
                </c:pt>
                <c:pt idx="3">
                  <c:v>21</c:v>
                </c:pt>
                <c:pt idx="4">
                  <c:v>16</c:v>
                </c:pt>
                <c:pt idx="5">
                  <c:v>20</c:v>
                </c:pt>
                <c:pt idx="6">
                  <c:v>4</c:v>
                </c:pt>
                <c:pt idx="7">
                  <c:v>3</c:v>
                </c:pt>
                <c:pt idx="8">
                  <c:v>1</c:v>
                </c:pt>
                <c:pt idx="9">
                  <c:v>1</c:v>
                </c:pt>
                <c:pt idx="10">
                  <c:v>23</c:v>
                </c:pt>
                <c:pt idx="11">
                  <c:v>22</c:v>
                </c:pt>
                <c:pt idx="12">
                  <c:v>21</c:v>
                </c:pt>
                <c:pt idx="13">
                  <c:v>25</c:v>
                </c:pt>
                <c:pt idx="14">
                  <c:v>27</c:v>
                </c:pt>
                <c:pt idx="15">
                  <c:v>5</c:v>
                </c:pt>
                <c:pt idx="16">
                  <c:v>5</c:v>
                </c:pt>
                <c:pt idx="17">
                  <c:v>7</c:v>
                </c:pt>
                <c:pt idx="18">
                  <c:v>6</c:v>
                </c:pt>
                <c:pt idx="19">
                  <c:v>30</c:v>
                </c:pt>
                <c:pt idx="20">
                  <c:v>34</c:v>
                </c:pt>
                <c:pt idx="21">
                  <c:v>43</c:v>
                </c:pt>
                <c:pt idx="22">
                  <c:v>39</c:v>
                </c:pt>
                <c:pt idx="23">
                  <c:v>43</c:v>
                </c:pt>
                <c:pt idx="24">
                  <c:v>54</c:v>
                </c:pt>
                <c:pt idx="25">
                  <c:v>61</c:v>
                </c:pt>
                <c:pt idx="26">
                  <c:v>66</c:v>
                </c:pt>
                <c:pt idx="27">
                  <c:v>67</c:v>
                </c:pt>
                <c:pt idx="28">
                  <c:v>77</c:v>
                </c:pt>
                <c:pt idx="29">
                  <c:v>77</c:v>
                </c:pt>
                <c:pt idx="30">
                  <c:v>91</c:v>
                </c:pt>
                <c:pt idx="31">
                  <c:v>119</c:v>
                </c:pt>
                <c:pt idx="32">
                  <c:v>119</c:v>
                </c:pt>
                <c:pt idx="33">
                  <c:v>132</c:v>
                </c:pt>
                <c:pt idx="34">
                  <c:v>135</c:v>
                </c:pt>
                <c:pt idx="35">
                  <c:v>141</c:v>
                </c:pt>
                <c:pt idx="36">
                  <c:v>132</c:v>
                </c:pt>
                <c:pt idx="37">
                  <c:v>148</c:v>
                </c:pt>
                <c:pt idx="38">
                  <c:v>186</c:v>
                </c:pt>
                <c:pt idx="39">
                  <c:v>170</c:v>
                </c:pt>
                <c:pt idx="40">
                  <c:v>188</c:v>
                </c:pt>
                <c:pt idx="41">
                  <c:v>201</c:v>
                </c:pt>
                <c:pt idx="42">
                  <c:v>158</c:v>
                </c:pt>
                <c:pt idx="43">
                  <c:v>159</c:v>
                </c:pt>
                <c:pt idx="44">
                  <c:v>166</c:v>
                </c:pt>
                <c:pt idx="45">
                  <c:v>268</c:v>
                </c:pt>
                <c:pt idx="46">
                  <c:v>2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83.94695753109974</c:v>
                </c:pt>
                <c:pt idx="43">
                  <c:v>190.27185979869995</c:v>
                </c:pt>
                <c:pt idx="44">
                  <c:v>196.57420028850507</c:v>
                </c:pt>
                <c:pt idx="45">
                  <c:v>202.64751160691304</c:v>
                </c:pt>
                <c:pt idx="46">
                  <c:v>208.30809139005623</c:v>
                </c:pt>
                <c:pt idx="47">
                  <c:v>213.62204978387825</c:v>
                </c:pt>
                <c:pt idx="48">
                  <c:v>218.74455575692241</c:v>
                </c:pt>
                <c:pt idx="49">
                  <c:v>223.77121857210352</c:v>
                </c:pt>
                <c:pt idx="50">
                  <c:v>228.69051554852919</c:v>
                </c:pt>
                <c:pt idx="51">
                  <c:v>233.72239698170318</c:v>
                </c:pt>
                <c:pt idx="52">
                  <c:v>238.56098868272741</c:v>
                </c:pt>
                <c:pt idx="53">
                  <c:v>242.7072182921568</c:v>
                </c:pt>
                <c:pt idx="54">
                  <c:v>246.49707114229716</c:v>
                </c:pt>
                <c:pt idx="55">
                  <c:v>250.11580256876718</c:v>
                </c:pt>
                <c:pt idx="56">
                  <c:v>253.63895026912087</c:v>
                </c:pt>
                <c:pt idx="57">
                  <c:v>257.08226077197111</c:v>
                </c:pt>
                <c:pt idx="58">
                  <c:v>260.45399258662059</c:v>
                </c:pt>
                <c:pt idx="59">
                  <c:v>263.71262777996412</c:v>
                </c:pt>
                <c:pt idx="60">
                  <c:v>266.67845172694075</c:v>
                </c:pt>
                <c:pt idx="61">
                  <c:v>269.41302083013778</c:v>
                </c:pt>
                <c:pt idx="62">
                  <c:v>271.9369765022272</c:v>
                </c:pt>
                <c:pt idx="63">
                  <c:v>274.27081865344081</c:v>
                </c:pt>
                <c:pt idx="64">
                  <c:v>276.39480964101767</c:v>
                </c:pt>
                <c:pt idx="65">
                  <c:v>278.35117668007246</c:v>
                </c:pt>
                <c:pt idx="66">
                  <c:v>280.10704620027622</c:v>
                </c:pt>
                <c:pt idx="67">
                  <c:v>281.66355924573611</c:v>
                </c:pt>
                <c:pt idx="68">
                  <c:v>282.96678982580931</c:v>
                </c:pt>
                <c:pt idx="69">
                  <c:v>284.03662916209555</c:v>
                </c:pt>
                <c:pt idx="70">
                  <c:v>284.91136742666026</c:v>
                </c:pt>
                <c:pt idx="71">
                  <c:v>285.49527279835712</c:v>
                </c:pt>
                <c:pt idx="72">
                  <c:v>285.85802713927188</c:v>
                </c:pt>
                <c:pt idx="73">
                  <c:v>286.00314406477781</c:v>
                </c:pt>
                <c:pt idx="74">
                  <c:v>285.88111867190679</c:v>
                </c:pt>
                <c:pt idx="75">
                  <c:v>285.5162831034973</c:v>
                </c:pt>
                <c:pt idx="76">
                  <c:v>284.91069817174684</c:v>
                </c:pt>
                <c:pt idx="77">
                  <c:v>284.09628531395163</c:v>
                </c:pt>
                <c:pt idx="78">
                  <c:v>282.99979387291626</c:v>
                </c:pt>
                <c:pt idx="79">
                  <c:v>281.69001932990159</c:v>
                </c:pt>
                <c:pt idx="80">
                  <c:v>280.15753344266113</c:v>
                </c:pt>
                <c:pt idx="81">
                  <c:v>278.35664811200991</c:v>
                </c:pt>
                <c:pt idx="82">
                  <c:v>276.31418241644894</c:v>
                </c:pt>
                <c:pt idx="83">
                  <c:v>274.08309614359581</c:v>
                </c:pt>
                <c:pt idx="84">
                  <c:v>271.64475930466131</c:v>
                </c:pt>
                <c:pt idx="85">
                  <c:v>268.96472137288674</c:v>
                </c:pt>
                <c:pt idx="86">
                  <c:v>266.1450282238805</c:v>
                </c:pt>
                <c:pt idx="87">
                  <c:v>263.15867725342514</c:v>
                </c:pt>
                <c:pt idx="88">
                  <c:v>259.87751617410629</c:v>
                </c:pt>
                <c:pt idx="89">
                  <c:v>256.46386208281683</c:v>
                </c:pt>
                <c:pt idx="90">
                  <c:v>252.91781211848709</c:v>
                </c:pt>
                <c:pt idx="91">
                  <c:v>249.21176090697969</c:v>
                </c:pt>
                <c:pt idx="92">
                  <c:v>245.3024356336106</c:v>
                </c:pt>
                <c:pt idx="93">
                  <c:v>241.25535202740826</c:v>
                </c:pt>
                <c:pt idx="94">
                  <c:v>237.09716222968177</c:v>
                </c:pt>
                <c:pt idx="95">
                  <c:v>232.816144615513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84.39665046459012</c:v>
                </c:pt>
                <c:pt idx="43">
                  <c:v>191.33282456555202</c:v>
                </c:pt>
                <c:pt idx="44">
                  <c:v>198.41792114102788</c:v>
                </c:pt>
                <c:pt idx="45">
                  <c:v>205.44871683606556</c:v>
                </c:pt>
                <c:pt idx="46">
                  <c:v>212.25045950027857</c:v>
                </c:pt>
                <c:pt idx="47">
                  <c:v>218.88747213996555</c:v>
                </c:pt>
                <c:pt idx="48">
                  <c:v>225.51682525817853</c:v>
                </c:pt>
                <c:pt idx="49">
                  <c:v>232.22918619506061</c:v>
                </c:pt>
                <c:pt idx="50">
                  <c:v>239.01158194740708</c:v>
                </c:pt>
                <c:pt idx="51">
                  <c:v>246.07750337611711</c:v>
                </c:pt>
                <c:pt idx="52">
                  <c:v>253.11682244881723</c:v>
                </c:pt>
                <c:pt idx="53">
                  <c:v>259.6233978299644</c:v>
                </c:pt>
                <c:pt idx="54">
                  <c:v>265.92746773516751</c:v>
                </c:pt>
                <c:pt idx="55">
                  <c:v>272.20344207310762</c:v>
                </c:pt>
                <c:pt idx="56">
                  <c:v>278.51254495296439</c:v>
                </c:pt>
                <c:pt idx="57">
                  <c:v>284.84598223193825</c:v>
                </c:pt>
                <c:pt idx="58">
                  <c:v>291.20380799736574</c:v>
                </c:pt>
                <c:pt idx="59">
                  <c:v>297.53220612770184</c:v>
                </c:pt>
                <c:pt idx="60">
                  <c:v>303.64279986136694</c:v>
                </c:pt>
                <c:pt idx="61">
                  <c:v>309.58076113070581</c:v>
                </c:pt>
                <c:pt idx="62">
                  <c:v>315.35437507992594</c:v>
                </c:pt>
                <c:pt idx="63">
                  <c:v>320.97021672722428</c:v>
                </c:pt>
                <c:pt idx="64">
                  <c:v>326.39045201036026</c:v>
                </c:pt>
                <c:pt idx="65">
                  <c:v>331.64257299104139</c:v>
                </c:pt>
                <c:pt idx="66">
                  <c:v>336.68135919591725</c:v>
                </c:pt>
                <c:pt idx="67">
                  <c:v>341.49371990154458</c:v>
                </c:pt>
                <c:pt idx="68">
                  <c:v>346.01305638132862</c:v>
                </c:pt>
                <c:pt idx="69">
                  <c:v>350.24601033537078</c:v>
                </c:pt>
                <c:pt idx="70">
                  <c:v>354.21723358245856</c:v>
                </c:pt>
                <c:pt idx="71">
                  <c:v>357.81784676480402</c:v>
                </c:pt>
                <c:pt idx="72">
                  <c:v>361.10419656638152</c:v>
                </c:pt>
                <c:pt idx="73">
                  <c:v>364.06787239660696</c:v>
                </c:pt>
                <c:pt idx="74">
                  <c:v>366.64860378435878</c:v>
                </c:pt>
                <c:pt idx="75">
                  <c:v>368.86008858031425</c:v>
                </c:pt>
                <c:pt idx="76">
                  <c:v>370.69446970663512</c:v>
                </c:pt>
                <c:pt idx="77">
                  <c:v>372.1751685079721</c:v>
                </c:pt>
                <c:pt idx="78">
                  <c:v>373.22041436859422</c:v>
                </c:pt>
                <c:pt idx="79">
                  <c:v>373.89217410556273</c:v>
                </c:pt>
                <c:pt idx="80">
                  <c:v>374.17480396611381</c:v>
                </c:pt>
                <c:pt idx="81">
                  <c:v>374.01734772236432</c:v>
                </c:pt>
                <c:pt idx="82">
                  <c:v>373.44184695782576</c:v>
                </c:pt>
                <c:pt idx="83">
                  <c:v>372.49823555011858</c:v>
                </c:pt>
                <c:pt idx="84">
                  <c:v>371.16553551360835</c:v>
                </c:pt>
                <c:pt idx="85">
                  <c:v>369.4079250963851</c:v>
                </c:pt>
                <c:pt idx="86">
                  <c:v>367.32704152195873</c:v>
                </c:pt>
                <c:pt idx="87">
                  <c:v>364.89639410975525</c:v>
                </c:pt>
                <c:pt idx="88">
                  <c:v>361.98875377260492</c:v>
                </c:pt>
                <c:pt idx="89">
                  <c:v>358.76899192346093</c:v>
                </c:pt>
                <c:pt idx="90">
                  <c:v>355.23978913410883</c:v>
                </c:pt>
                <c:pt idx="91">
                  <c:v>351.3771911188403</c:v>
                </c:pt>
                <c:pt idx="92">
                  <c:v>347.13590724784808</c:v>
                </c:pt>
                <c:pt idx="93">
                  <c:v>342.59075832047654</c:v>
                </c:pt>
                <c:pt idx="94">
                  <c:v>337.77389344416542</c:v>
                </c:pt>
                <c:pt idx="95">
                  <c:v>332.679650281712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84.84919137429711</c:v>
                </c:pt>
                <c:pt idx="43">
                  <c:v>192.40397275212703</c:v>
                </c:pt>
                <c:pt idx="44">
                  <c:v>200.28650966380019</c:v>
                </c:pt>
                <c:pt idx="45">
                  <c:v>208.30009613400512</c:v>
                </c:pt>
                <c:pt idx="46">
                  <c:v>216.28254323066312</c:v>
                </c:pt>
                <c:pt idx="47">
                  <c:v>224.3001917958041</c:v>
                </c:pt>
                <c:pt idx="48">
                  <c:v>232.51597179087784</c:v>
                </c:pt>
                <c:pt idx="49">
                  <c:v>241.01959491858304</c:v>
                </c:pt>
                <c:pt idx="50">
                  <c:v>249.80058009715103</c:v>
                </c:pt>
                <c:pt idx="51">
                  <c:v>259.06974978398341</c:v>
                </c:pt>
                <c:pt idx="52">
                  <c:v>268.51629233549284</c:v>
                </c:pt>
                <c:pt idx="53">
                  <c:v>277.63022737795291</c:v>
                </c:pt>
                <c:pt idx="54">
                  <c:v>286.73888232183481</c:v>
                </c:pt>
                <c:pt idx="55">
                  <c:v>296.00816418282511</c:v>
                </c:pt>
                <c:pt idx="56">
                  <c:v>305.48678767225488</c:v>
                </c:pt>
                <c:pt idx="57">
                  <c:v>315.14252144610936</c:v>
                </c:pt>
                <c:pt idx="58">
                  <c:v>324.96769055495395</c:v>
                </c:pt>
                <c:pt idx="59">
                  <c:v>334.89594069335055</c:v>
                </c:pt>
                <c:pt idx="60">
                  <c:v>344.72922626091463</c:v>
                </c:pt>
                <c:pt idx="61">
                  <c:v>354.4945107025859</c:v>
                </c:pt>
                <c:pt idx="62">
                  <c:v>364.18509990670566</c:v>
                </c:pt>
                <c:pt idx="63">
                  <c:v>373.79023639287914</c:v>
                </c:pt>
                <c:pt idx="64">
                  <c:v>383.24979112488609</c:v>
                </c:pt>
                <c:pt idx="65">
                  <c:v>392.57167131036204</c:v>
                </c:pt>
                <c:pt idx="66">
                  <c:v>401.69285768074724</c:v>
                </c:pt>
                <c:pt idx="67">
                  <c:v>410.57990413353139</c:v>
                </c:pt>
                <c:pt idx="68">
                  <c:v>419.14684949974952</c:v>
                </c:pt>
                <c:pt idx="69">
                  <c:v>427.37990756839827</c:v>
                </c:pt>
                <c:pt idx="70">
                  <c:v>435.2825262477046</c:v>
                </c:pt>
                <c:pt idx="71">
                  <c:v>442.72482066830509</c:v>
                </c:pt>
                <c:pt idx="72">
                  <c:v>449.74179405261259</c:v>
                </c:pt>
                <c:pt idx="73">
                  <c:v>456.30505463693981</c:v>
                </c:pt>
                <c:pt idx="74">
                  <c:v>462.33554822181679</c:v>
                </c:pt>
                <c:pt idx="75">
                  <c:v>467.82846369259039</c:v>
                </c:pt>
                <c:pt idx="76">
                  <c:v>472.75840714830446</c:v>
                </c:pt>
                <c:pt idx="77">
                  <c:v>477.13304618262606</c:v>
                </c:pt>
                <c:pt idx="78">
                  <c:v>480.85529919916905</c:v>
                </c:pt>
                <c:pt idx="79">
                  <c:v>483.97407280527563</c:v>
                </c:pt>
                <c:pt idx="80">
                  <c:v>486.46191164103197</c:v>
                </c:pt>
                <c:pt idx="81">
                  <c:v>488.25770316586431</c:v>
                </c:pt>
                <c:pt idx="82">
                  <c:v>489.37459271166404</c:v>
                </c:pt>
                <c:pt idx="83">
                  <c:v>489.85619305018798</c:v>
                </c:pt>
                <c:pt idx="84">
                  <c:v>489.67674163578209</c:v>
                </c:pt>
                <c:pt idx="85">
                  <c:v>488.79749017853146</c:v>
                </c:pt>
                <c:pt idx="86">
                  <c:v>487.31900201956671</c:v>
                </c:pt>
                <c:pt idx="87">
                  <c:v>485.21551676193405</c:v>
                </c:pt>
                <c:pt idx="88">
                  <c:v>482.36181075261038</c:v>
                </c:pt>
                <c:pt idx="89">
                  <c:v>478.92723239122301</c:v>
                </c:pt>
                <c:pt idx="90">
                  <c:v>474.91976457458782</c:v>
                </c:pt>
                <c:pt idx="91">
                  <c:v>470.32257223241459</c:v>
                </c:pt>
                <c:pt idx="92">
                  <c:v>465.09246521619326</c:v>
                </c:pt>
                <c:pt idx="93">
                  <c:v>459.31832662551511</c:v>
                </c:pt>
                <c:pt idx="94">
                  <c:v>453.04309272230665</c:v>
                </c:pt>
                <c:pt idx="95">
                  <c:v>446.27291723322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</c:v>
                </c:pt>
                <c:pt idx="1">
                  <c:v>2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6</c:v>
                </c:pt>
                <c:pt idx="7">
                  <c:v>6</c:v>
                </c:pt>
                <c:pt idx="8">
                  <c:v>6</c:v>
                </c:pt>
                <c:pt idx="9">
                  <c:v>6</c:v>
                </c:pt>
                <c:pt idx="10">
                  <c:v>7</c:v>
                </c:pt>
                <c:pt idx="11">
                  <c:v>5</c:v>
                </c:pt>
                <c:pt idx="12">
                  <c:v>7</c:v>
                </c:pt>
                <c:pt idx="13">
                  <c:v>9</c:v>
                </c:pt>
                <c:pt idx="14">
                  <c:v>9</c:v>
                </c:pt>
                <c:pt idx="15">
                  <c:v>9</c:v>
                </c:pt>
                <c:pt idx="16">
                  <c:v>10</c:v>
                </c:pt>
                <c:pt idx="17">
                  <c:v>19</c:v>
                </c:pt>
                <c:pt idx="18">
                  <c:v>20</c:v>
                </c:pt>
                <c:pt idx="19">
                  <c:v>22</c:v>
                </c:pt>
                <c:pt idx="20">
                  <c:v>21</c:v>
                </c:pt>
                <c:pt idx="21">
                  <c:v>21</c:v>
                </c:pt>
                <c:pt idx="22">
                  <c:v>24</c:v>
                </c:pt>
                <c:pt idx="23">
                  <c:v>27</c:v>
                </c:pt>
                <c:pt idx="24">
                  <c:v>26</c:v>
                </c:pt>
                <c:pt idx="25">
                  <c:v>29</c:v>
                </c:pt>
                <c:pt idx="26">
                  <c:v>31</c:v>
                </c:pt>
                <c:pt idx="27">
                  <c:v>28</c:v>
                </c:pt>
                <c:pt idx="28">
                  <c:v>30</c:v>
                </c:pt>
                <c:pt idx="29">
                  <c:v>32</c:v>
                </c:pt>
                <c:pt idx="30">
                  <c:v>33</c:v>
                </c:pt>
                <c:pt idx="31">
                  <c:v>33</c:v>
                </c:pt>
                <c:pt idx="32">
                  <c:v>37</c:v>
                </c:pt>
                <c:pt idx="33">
                  <c:v>37</c:v>
                </c:pt>
                <c:pt idx="34">
                  <c:v>36</c:v>
                </c:pt>
                <c:pt idx="35">
                  <c:v>39</c:v>
                </c:pt>
                <c:pt idx="36">
                  <c:v>45</c:v>
                </c:pt>
                <c:pt idx="37">
                  <c:v>46</c:v>
                </c:pt>
                <c:pt idx="38">
                  <c:v>57</c:v>
                </c:pt>
                <c:pt idx="39">
                  <c:v>55</c:v>
                </c:pt>
                <c:pt idx="40">
                  <c:v>64</c:v>
                </c:pt>
                <c:pt idx="41">
                  <c:v>63</c:v>
                </c:pt>
                <c:pt idx="42">
                  <c:v>74</c:v>
                </c:pt>
                <c:pt idx="43">
                  <c:v>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64.341694824089004</c:v>
                </c:pt>
                <c:pt idx="43">
                  <c:v>66.280268319244129</c:v>
                </c:pt>
                <c:pt idx="44">
                  <c:v>68.216040624810503</c:v>
                </c:pt>
                <c:pt idx="45">
                  <c:v>70.060975270623686</c:v>
                </c:pt>
                <c:pt idx="46">
                  <c:v>71.727721412696184</c:v>
                </c:pt>
                <c:pt idx="47">
                  <c:v>73.267352912008576</c:v>
                </c:pt>
                <c:pt idx="48">
                  <c:v>74.772611963788194</c:v>
                </c:pt>
                <c:pt idx="49">
                  <c:v>76.273001550229424</c:v>
                </c:pt>
                <c:pt idx="50">
                  <c:v>77.752359201837436</c:v>
                </c:pt>
                <c:pt idx="51">
                  <c:v>79.304083356168746</c:v>
                </c:pt>
                <c:pt idx="52">
                  <c:v>80.817971735041368</c:v>
                </c:pt>
                <c:pt idx="53">
                  <c:v>82.089695882682889</c:v>
                </c:pt>
                <c:pt idx="54">
                  <c:v>83.232250850270475</c:v>
                </c:pt>
                <c:pt idx="55">
                  <c:v>84.3404509166254</c:v>
                </c:pt>
                <c:pt idx="56">
                  <c:v>85.441037029084583</c:v>
                </c:pt>
                <c:pt idx="57">
                  <c:v>86.552606141285935</c:v>
                </c:pt>
                <c:pt idx="58">
                  <c:v>87.653413643922576</c:v>
                </c:pt>
                <c:pt idx="59">
                  <c:v>88.730865019955985</c:v>
                </c:pt>
                <c:pt idx="60">
                  <c:v>89.735263686992141</c:v>
                </c:pt>
                <c:pt idx="61">
                  <c:v>90.663928378406382</c:v>
                </c:pt>
                <c:pt idx="62">
                  <c:v>91.533619512380852</c:v>
                </c:pt>
                <c:pt idx="63">
                  <c:v>92.349490219338591</c:v>
                </c:pt>
                <c:pt idx="64">
                  <c:v>93.10127006560684</c:v>
                </c:pt>
                <c:pt idx="65">
                  <c:v>93.804215210101859</c:v>
                </c:pt>
                <c:pt idx="66">
                  <c:v>94.445583966389151</c:v>
                </c:pt>
                <c:pt idx="67">
                  <c:v>95.031461102369221</c:v>
                </c:pt>
                <c:pt idx="68">
                  <c:v>95.534329925182845</c:v>
                </c:pt>
                <c:pt idx="69">
                  <c:v>95.968669114718608</c:v>
                </c:pt>
                <c:pt idx="70">
                  <c:v>96.338076274007491</c:v>
                </c:pt>
                <c:pt idx="71">
                  <c:v>96.609402626549965</c:v>
                </c:pt>
                <c:pt idx="72">
                  <c:v>96.804907250852793</c:v>
                </c:pt>
                <c:pt idx="73">
                  <c:v>96.929623672417861</c:v>
                </c:pt>
                <c:pt idx="74">
                  <c:v>96.972739994899285</c:v>
                </c:pt>
                <c:pt idx="75">
                  <c:v>96.93506552261681</c:v>
                </c:pt>
                <c:pt idx="76">
                  <c:v>96.821586328388548</c:v>
                </c:pt>
                <c:pt idx="77">
                  <c:v>96.633866504340403</c:v>
                </c:pt>
                <c:pt idx="78">
                  <c:v>96.352388413243062</c:v>
                </c:pt>
                <c:pt idx="79">
                  <c:v>95.993459376078548</c:v>
                </c:pt>
                <c:pt idx="80">
                  <c:v>95.561667540744267</c:v>
                </c:pt>
                <c:pt idx="81">
                  <c:v>95.050176066372046</c:v>
                </c:pt>
                <c:pt idx="82">
                  <c:v>94.453869570642425</c:v>
                </c:pt>
                <c:pt idx="83">
                  <c:v>93.794364320120636</c:v>
                </c:pt>
                <c:pt idx="84">
                  <c:v>93.063667005257869</c:v>
                </c:pt>
                <c:pt idx="85">
                  <c:v>92.244883492348663</c:v>
                </c:pt>
                <c:pt idx="86">
                  <c:v>91.371756179087086</c:v>
                </c:pt>
                <c:pt idx="87">
                  <c:v>90.438979392388973</c:v>
                </c:pt>
                <c:pt idx="88">
                  <c:v>89.423418908050195</c:v>
                </c:pt>
                <c:pt idx="89">
                  <c:v>88.35902825605244</c:v>
                </c:pt>
                <c:pt idx="90">
                  <c:v>87.247235067639835</c:v>
                </c:pt>
                <c:pt idx="91">
                  <c:v>86.080623265140673</c:v>
                </c:pt>
                <c:pt idx="92">
                  <c:v>84.840791557579806</c:v>
                </c:pt>
                <c:pt idx="93">
                  <c:v>83.552682470482864</c:v>
                </c:pt>
                <c:pt idx="94">
                  <c:v>82.227744752547366</c:v>
                </c:pt>
                <c:pt idx="95">
                  <c:v>80.8598006338696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64.479215261220105</c:v>
                </c:pt>
                <c:pt idx="43">
                  <c:v>66.604507194743164</c:v>
                </c:pt>
                <c:pt idx="44">
                  <c:v>68.780475422181169</c:v>
                </c:pt>
                <c:pt idx="45">
                  <c:v>70.921156770094584</c:v>
                </c:pt>
                <c:pt idx="46">
                  <c:v>72.941868839340103</c:v>
                </c:pt>
                <c:pt idx="47">
                  <c:v>74.894114153339203</c:v>
                </c:pt>
                <c:pt idx="48">
                  <c:v>76.871801132279415</c:v>
                </c:pt>
                <c:pt idx="49">
                  <c:v>78.903348069372726</c:v>
                </c:pt>
                <c:pt idx="50">
                  <c:v>80.972716790947601</c:v>
                </c:pt>
                <c:pt idx="51">
                  <c:v>83.171846042686298</c:v>
                </c:pt>
                <c:pt idx="52">
                  <c:v>85.390051902435687</c:v>
                </c:pt>
                <c:pt idx="53">
                  <c:v>87.420913126749952</c:v>
                </c:pt>
                <c:pt idx="54">
                  <c:v>89.375640268612486</c:v>
                </c:pt>
                <c:pt idx="55">
                  <c:v>91.346618715996854</c:v>
                </c:pt>
                <c:pt idx="56">
                  <c:v>93.356549532567016</c:v>
                </c:pt>
                <c:pt idx="57">
                  <c:v>95.415644842262779</c:v>
                </c:pt>
                <c:pt idx="58">
                  <c:v>97.499674384867689</c:v>
                </c:pt>
                <c:pt idx="59">
                  <c:v>99.592177371019559</c:v>
                </c:pt>
                <c:pt idx="60">
                  <c:v>101.64095491910481</c:v>
                </c:pt>
                <c:pt idx="61">
                  <c:v>103.63791233291272</c:v>
                </c:pt>
                <c:pt idx="62">
                  <c:v>105.59590568657543</c:v>
                </c:pt>
                <c:pt idx="63">
                  <c:v>107.51499488386197</c:v>
                </c:pt>
                <c:pt idx="64">
                  <c:v>109.37950951535544</c:v>
                </c:pt>
                <c:pt idx="65">
                  <c:v>111.19941497917239</c:v>
                </c:pt>
                <c:pt idx="66">
                  <c:v>112.95780026597895</c:v>
                </c:pt>
                <c:pt idx="67">
                  <c:v>114.6558467398185</c:v>
                </c:pt>
                <c:pt idx="68">
                  <c:v>116.26164489431554</c:v>
                </c:pt>
                <c:pt idx="69">
                  <c:v>117.78512669435443</c:v>
                </c:pt>
                <c:pt idx="70">
                  <c:v>119.22510057993908</c:v>
                </c:pt>
                <c:pt idx="71">
                  <c:v>120.54391229758153</c:v>
                </c:pt>
                <c:pt idx="72">
                  <c:v>121.75906979618112</c:v>
                </c:pt>
                <c:pt idx="73">
                  <c:v>122.8716560045616</c:v>
                </c:pt>
                <c:pt idx="74">
                  <c:v>123.86679267291764</c:v>
                </c:pt>
                <c:pt idx="75">
                  <c:v>124.74143917458962</c:v>
                </c:pt>
                <c:pt idx="76">
                  <c:v>125.49695358529634</c:v>
                </c:pt>
                <c:pt idx="77">
                  <c:v>126.13180810040252</c:v>
                </c:pt>
                <c:pt idx="78">
                  <c:v>126.62339840253188</c:v>
                </c:pt>
                <c:pt idx="79">
                  <c:v>126.98538526378502</c:v>
                </c:pt>
                <c:pt idx="80">
                  <c:v>127.2199559572482</c:v>
                </c:pt>
                <c:pt idx="81">
                  <c:v>127.31818497855787</c:v>
                </c:pt>
                <c:pt idx="82">
                  <c:v>127.27310424125477</c:v>
                </c:pt>
                <c:pt idx="83">
                  <c:v>127.104947875473</c:v>
                </c:pt>
                <c:pt idx="84">
                  <c:v>126.80461835065731</c:v>
                </c:pt>
                <c:pt idx="85">
                  <c:v>126.35445029723755</c:v>
                </c:pt>
                <c:pt idx="86">
                  <c:v>125.78774500033606</c:v>
                </c:pt>
                <c:pt idx="87">
                  <c:v>125.09907433145972</c:v>
                </c:pt>
                <c:pt idx="88">
                  <c:v>124.26540451915986</c:v>
                </c:pt>
                <c:pt idx="89">
                  <c:v>123.32123231090415</c:v>
                </c:pt>
                <c:pt idx="90">
                  <c:v>122.2686749782704</c:v>
                </c:pt>
                <c:pt idx="91">
                  <c:v>121.10133684782622</c:v>
                </c:pt>
                <c:pt idx="92">
                  <c:v>119.80092862038612</c:v>
                </c:pt>
                <c:pt idx="93">
                  <c:v>118.39469907856402</c:v>
                </c:pt>
                <c:pt idx="94">
                  <c:v>116.89581948554584</c:v>
                </c:pt>
                <c:pt idx="95">
                  <c:v>115.300041889756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64.617618916605622</c:v>
                </c:pt>
                <c:pt idx="43">
                  <c:v>66.931889418943925</c:v>
                </c:pt>
                <c:pt idx="44">
                  <c:v>69.352572573232081</c:v>
                </c:pt>
                <c:pt idx="45">
                  <c:v>71.79679675604622</c:v>
                </c:pt>
                <c:pt idx="46">
                  <c:v>74.183679416986081</c:v>
                </c:pt>
                <c:pt idx="47">
                  <c:v>76.566359805370183</c:v>
                </c:pt>
                <c:pt idx="48">
                  <c:v>79.041182758409803</c:v>
                </c:pt>
                <c:pt idx="49">
                  <c:v>81.636776458448239</c:v>
                </c:pt>
                <c:pt idx="50">
                  <c:v>84.338526576599392</c:v>
                </c:pt>
                <c:pt idx="51">
                  <c:v>87.238183207655737</c:v>
                </c:pt>
                <c:pt idx="52">
                  <c:v>90.225804118116002</c:v>
                </c:pt>
                <c:pt idx="53">
                  <c:v>93.094008806193486</c:v>
                </c:pt>
                <c:pt idx="54">
                  <c:v>95.953248463103336</c:v>
                </c:pt>
                <c:pt idx="55">
                  <c:v>98.894367932026682</c:v>
                </c:pt>
                <c:pt idx="56">
                  <c:v>101.93675858863129</c:v>
                </c:pt>
                <c:pt idx="57">
                  <c:v>105.08276239610358</c:v>
                </c:pt>
                <c:pt idx="58">
                  <c:v>108.30598541650703</c:v>
                </c:pt>
                <c:pt idx="59">
                  <c:v>111.58619554596274</c:v>
                </c:pt>
                <c:pt idx="60">
                  <c:v>114.8685418691594</c:v>
                </c:pt>
                <c:pt idx="61">
                  <c:v>118.13909911489924</c:v>
                </c:pt>
                <c:pt idx="62">
                  <c:v>121.40613940614507</c:v>
                </c:pt>
                <c:pt idx="63">
                  <c:v>124.66368375024584</c:v>
                </c:pt>
                <c:pt idx="64">
                  <c:v>127.88945222641925</c:v>
                </c:pt>
                <c:pt idx="65">
                  <c:v>131.08667877169643</c:v>
                </c:pt>
                <c:pt idx="66">
                  <c:v>134.23262566448903</c:v>
                </c:pt>
                <c:pt idx="67">
                  <c:v>137.32166985040288</c:v>
                </c:pt>
                <c:pt idx="68">
                  <c:v>140.3153961853111</c:v>
                </c:pt>
                <c:pt idx="69">
                  <c:v>143.21688911367357</c:v>
                </c:pt>
                <c:pt idx="70">
                  <c:v>146.01771036175461</c:v>
                </c:pt>
                <c:pt idx="71">
                  <c:v>148.67311825172115</c:v>
                </c:pt>
                <c:pt idx="72">
                  <c:v>151.19320597806995</c:v>
                </c:pt>
                <c:pt idx="73">
                  <c:v>153.57239528013486</c:v>
                </c:pt>
                <c:pt idx="74">
                  <c:v>155.78900974924903</c:v>
                </c:pt>
                <c:pt idx="75">
                  <c:v>157.83344267373695</c:v>
                </c:pt>
                <c:pt idx="76">
                  <c:v>159.70076117811004</c:v>
                </c:pt>
                <c:pt idx="77">
                  <c:v>161.38377383214873</c:v>
                </c:pt>
                <c:pt idx="78">
                  <c:v>162.85434400695152</c:v>
                </c:pt>
                <c:pt idx="79">
                  <c:v>164.12120060893216</c:v>
                </c:pt>
                <c:pt idx="80">
                  <c:v>165.18203342422115</c:v>
                </c:pt>
                <c:pt idx="81">
                  <c:v>166.02394769171616</c:v>
                </c:pt>
                <c:pt idx="82">
                  <c:v>166.63648288320223</c:v>
                </c:pt>
                <c:pt idx="83">
                  <c:v>167.03711367691074</c:v>
                </c:pt>
                <c:pt idx="84">
                  <c:v>167.21453947501993</c:v>
                </c:pt>
                <c:pt idx="85">
                  <c:v>167.14951497682486</c:v>
                </c:pt>
                <c:pt idx="86">
                  <c:v>166.8743889812863</c:v>
                </c:pt>
                <c:pt idx="87">
                  <c:v>166.38339890145375</c:v>
                </c:pt>
                <c:pt idx="88">
                  <c:v>165.65369672432081</c:v>
                </c:pt>
                <c:pt idx="89">
                  <c:v>164.72070041548557</c:v>
                </c:pt>
                <c:pt idx="90">
                  <c:v>163.58787736040355</c:v>
                </c:pt>
                <c:pt idx="91">
                  <c:v>162.25078235011094</c:v>
                </c:pt>
                <c:pt idx="92">
                  <c:v>160.6924136325045</c:v>
                </c:pt>
                <c:pt idx="93">
                  <c:v>158.94373751661513</c:v>
                </c:pt>
                <c:pt idx="94">
                  <c:v>157.02126635657385</c:v>
                </c:pt>
                <c:pt idx="95">
                  <c:v>154.924485497423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4</c:v>
                </c:pt>
                <c:pt idx="6">
                  <c:v>6</c:v>
                </c:pt>
                <c:pt idx="7">
                  <c:v>6</c:v>
                </c:pt>
                <c:pt idx="8">
                  <c:v>8</c:v>
                </c:pt>
                <c:pt idx="9">
                  <c:v>8</c:v>
                </c:pt>
                <c:pt idx="10">
                  <c:v>9</c:v>
                </c:pt>
                <c:pt idx="11">
                  <c:v>9</c:v>
                </c:pt>
                <c:pt idx="12">
                  <c:v>10</c:v>
                </c:pt>
                <c:pt idx="13">
                  <c:v>9</c:v>
                </c:pt>
                <c:pt idx="14">
                  <c:v>6</c:v>
                </c:pt>
                <c:pt idx="15">
                  <c:v>6</c:v>
                </c:pt>
                <c:pt idx="16">
                  <c:v>7</c:v>
                </c:pt>
                <c:pt idx="17">
                  <c:v>9</c:v>
                </c:pt>
                <c:pt idx="18">
                  <c:v>12</c:v>
                </c:pt>
                <c:pt idx="19">
                  <c:v>10</c:v>
                </c:pt>
                <c:pt idx="20">
                  <c:v>9</c:v>
                </c:pt>
                <c:pt idx="21">
                  <c:v>12</c:v>
                </c:pt>
                <c:pt idx="22">
                  <c:v>11</c:v>
                </c:pt>
                <c:pt idx="23">
                  <c:v>12</c:v>
                </c:pt>
                <c:pt idx="24">
                  <c:v>14</c:v>
                </c:pt>
                <c:pt idx="25">
                  <c:v>15</c:v>
                </c:pt>
                <c:pt idx="26">
                  <c:v>14</c:v>
                </c:pt>
                <c:pt idx="27">
                  <c:v>15</c:v>
                </c:pt>
                <c:pt idx="28">
                  <c:v>19</c:v>
                </c:pt>
                <c:pt idx="29">
                  <c:v>25</c:v>
                </c:pt>
                <c:pt idx="30">
                  <c:v>27</c:v>
                </c:pt>
                <c:pt idx="31">
                  <c:v>40</c:v>
                </c:pt>
                <c:pt idx="32">
                  <c:v>43</c:v>
                </c:pt>
                <c:pt idx="33">
                  <c:v>49</c:v>
                </c:pt>
                <c:pt idx="34">
                  <c:v>54</c:v>
                </c:pt>
                <c:pt idx="35">
                  <c:v>57</c:v>
                </c:pt>
                <c:pt idx="36">
                  <c:v>59</c:v>
                </c:pt>
                <c:pt idx="37">
                  <c:v>63</c:v>
                </c:pt>
                <c:pt idx="38">
                  <c:v>83</c:v>
                </c:pt>
                <c:pt idx="39">
                  <c:v>97</c:v>
                </c:pt>
                <c:pt idx="40">
                  <c:v>104</c:v>
                </c:pt>
                <c:pt idx="41">
                  <c:v>109</c:v>
                </c:pt>
                <c:pt idx="42">
                  <c:v>124</c:v>
                </c:pt>
                <c:pt idx="43">
                  <c:v>102</c:v>
                </c:pt>
                <c:pt idx="44">
                  <c:v>105</c:v>
                </c:pt>
                <c:pt idx="45">
                  <c:v>136</c:v>
                </c:pt>
                <c:pt idx="46">
                  <c:v>1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88.611759013123219</c:v>
                </c:pt>
                <c:pt idx="43">
                  <c:v>91.517651292180773</c:v>
                </c:pt>
                <c:pt idx="44">
                  <c:v>94.415296157133213</c:v>
                </c:pt>
                <c:pt idx="45">
                  <c:v>97.197088719521247</c:v>
                </c:pt>
                <c:pt idx="46">
                  <c:v>99.762643498281932</c:v>
                </c:pt>
                <c:pt idx="47">
                  <c:v>102.15819872029707</c:v>
                </c:pt>
                <c:pt idx="48">
                  <c:v>104.47830966614404</c:v>
                </c:pt>
                <c:pt idx="49">
                  <c:v>106.76700514487746</c:v>
                </c:pt>
                <c:pt idx="50">
                  <c:v>109.012487576231</c:v>
                </c:pt>
                <c:pt idx="51">
                  <c:v>111.32918945113126</c:v>
                </c:pt>
                <c:pt idx="52">
                  <c:v>113.56810960060633</c:v>
                </c:pt>
                <c:pt idx="53">
                  <c:v>115.47350861014988</c:v>
                </c:pt>
                <c:pt idx="54">
                  <c:v>117.20490776466954</c:v>
                </c:pt>
                <c:pt idx="55">
                  <c:v>118.86700390200838</c:v>
                </c:pt>
                <c:pt idx="56">
                  <c:v>120.49634967455756</c:v>
                </c:pt>
                <c:pt idx="57">
                  <c:v>122.10727018216051</c:v>
                </c:pt>
                <c:pt idx="58">
                  <c:v>123.69105997192369</c:v>
                </c:pt>
                <c:pt idx="59">
                  <c:v>125.2287114638149</c:v>
                </c:pt>
                <c:pt idx="60">
                  <c:v>126.64043027536478</c:v>
                </c:pt>
                <c:pt idx="61">
                  <c:v>127.94340242123933</c:v>
                </c:pt>
                <c:pt idx="62">
                  <c:v>129.152483754641</c:v>
                </c:pt>
                <c:pt idx="63">
                  <c:v>130.27651081335782</c:v>
                </c:pt>
                <c:pt idx="64">
                  <c:v>131.3042420558771</c:v>
                </c:pt>
                <c:pt idx="65">
                  <c:v>132.25626948476284</c:v>
                </c:pt>
                <c:pt idx="66">
                  <c:v>133.11611704993197</c:v>
                </c:pt>
                <c:pt idx="67">
                  <c:v>133.88726198205373</c:v>
                </c:pt>
                <c:pt idx="68">
                  <c:v>134.53927070581921</c:v>
                </c:pt>
                <c:pt idx="69">
                  <c:v>135.08559792669453</c:v>
                </c:pt>
                <c:pt idx="70">
                  <c:v>135.53964512477879</c:v>
                </c:pt>
                <c:pt idx="71">
                  <c:v>135.85546929205796</c:v>
                </c:pt>
                <c:pt idx="72">
                  <c:v>136.06554911611551</c:v>
                </c:pt>
                <c:pt idx="73">
                  <c:v>136.17353615266975</c:v>
                </c:pt>
                <c:pt idx="74">
                  <c:v>136.15893167417312</c:v>
                </c:pt>
                <c:pt idx="75">
                  <c:v>136.02949144216188</c:v>
                </c:pt>
                <c:pt idx="76">
                  <c:v>135.7884043850847</c:v>
                </c:pt>
                <c:pt idx="77">
                  <c:v>135.44610398640174</c:v>
                </c:pt>
                <c:pt idx="78">
                  <c:v>134.97044671876529</c:v>
                </c:pt>
                <c:pt idx="79">
                  <c:v>134.39057933802687</c:v>
                </c:pt>
                <c:pt idx="80">
                  <c:v>133.70602055724063</c:v>
                </c:pt>
                <c:pt idx="81">
                  <c:v>132.89946964195929</c:v>
                </c:pt>
                <c:pt idx="82">
                  <c:v>131.97638181877784</c:v>
                </c:pt>
                <c:pt idx="83">
                  <c:v>130.96386108598529</c:v>
                </c:pt>
                <c:pt idx="84">
                  <c:v>129.85217249171839</c:v>
                </c:pt>
                <c:pt idx="85">
                  <c:v>128.62222623464658</c:v>
                </c:pt>
                <c:pt idx="86">
                  <c:v>127.32217542222496</c:v>
                </c:pt>
                <c:pt idx="87">
                  <c:v>125.9411436328466</c:v>
                </c:pt>
                <c:pt idx="88">
                  <c:v>124.42856574515348</c:v>
                </c:pt>
                <c:pt idx="89">
                  <c:v>122.85088255250793</c:v>
                </c:pt>
                <c:pt idx="90">
                  <c:v>121.2088584465249</c:v>
                </c:pt>
                <c:pt idx="91">
                  <c:v>119.49034854331009</c:v>
                </c:pt>
                <c:pt idx="92">
                  <c:v>117.67282602695971</c:v>
                </c:pt>
                <c:pt idx="93">
                  <c:v>115.7888947150861</c:v>
                </c:pt>
                <c:pt idx="94">
                  <c:v>113.85248841528505</c:v>
                </c:pt>
                <c:pt idx="95">
                  <c:v>111.856890700759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88.818204935299917</c:v>
                </c:pt>
                <c:pt idx="43">
                  <c:v>92.004610710110342</c:v>
                </c:pt>
                <c:pt idx="44">
                  <c:v>95.262027812721641</c:v>
                </c:pt>
                <c:pt idx="45">
                  <c:v>98.484897368029181</c:v>
                </c:pt>
                <c:pt idx="46">
                  <c:v>101.57690744566001</c:v>
                </c:pt>
                <c:pt idx="47">
                  <c:v>104.58397795628545</c:v>
                </c:pt>
                <c:pt idx="48">
                  <c:v>107.60183821384936</c:v>
                </c:pt>
                <c:pt idx="49">
                  <c:v>110.67246793695674</c:v>
                </c:pt>
                <c:pt idx="50">
                  <c:v>113.78369610029162</c:v>
                </c:pt>
                <c:pt idx="51">
                  <c:v>117.04725530285404</c:v>
                </c:pt>
                <c:pt idx="52">
                  <c:v>120.31261333344035</c:v>
                </c:pt>
                <c:pt idx="53">
                  <c:v>123.3208210526671</c:v>
                </c:pt>
                <c:pt idx="54">
                  <c:v>126.22874745847787</c:v>
                </c:pt>
                <c:pt idx="55">
                  <c:v>129.13656755201126</c:v>
                </c:pt>
                <c:pt idx="56">
                  <c:v>132.07443657779851</c:v>
                </c:pt>
                <c:pt idx="57">
                  <c:v>135.04496031175219</c:v>
                </c:pt>
                <c:pt idx="58">
                  <c:v>138.03567881679641</c:v>
                </c:pt>
                <c:pt idx="59">
                  <c:v>141.02188438200318</c:v>
                </c:pt>
                <c:pt idx="60">
                  <c:v>143.91988151282897</c:v>
                </c:pt>
                <c:pt idx="61">
                  <c:v>146.73912695392687</c:v>
                </c:pt>
                <c:pt idx="62">
                  <c:v>149.48873930626507</c:v>
                </c:pt>
                <c:pt idx="63">
                  <c:v>152.17073256794254</c:v>
                </c:pt>
                <c:pt idx="64">
                  <c:v>154.76562649766566</c:v>
                </c:pt>
                <c:pt idx="65">
                  <c:v>157.28684445664891</c:v>
                </c:pt>
                <c:pt idx="66">
                  <c:v>159.7120395287823</c:v>
                </c:pt>
                <c:pt idx="67">
                  <c:v>162.03787158588153</c:v>
                </c:pt>
                <c:pt idx="68">
                  <c:v>164.22782283291116</c:v>
                </c:pt>
                <c:pt idx="69">
                  <c:v>166.2890105414194</c:v>
                </c:pt>
                <c:pt idx="70">
                  <c:v>168.22825664097059</c:v>
                </c:pt>
                <c:pt idx="71">
                  <c:v>169.99333268385743</c:v>
                </c:pt>
                <c:pt idx="72">
                  <c:v>171.61024883420694</c:v>
                </c:pt>
                <c:pt idx="73">
                  <c:v>173.07702589831251</c:v>
                </c:pt>
                <c:pt idx="74">
                  <c:v>174.36782426331223</c:v>
                </c:pt>
                <c:pt idx="75">
                  <c:v>175.48520983755947</c:v>
                </c:pt>
                <c:pt idx="76">
                  <c:v>176.42751205171911</c:v>
                </c:pt>
                <c:pt idx="77">
                  <c:v>177.20100856680091</c:v>
                </c:pt>
                <c:pt idx="78">
                  <c:v>177.76939672712192</c:v>
                </c:pt>
                <c:pt idx="79">
                  <c:v>178.15840091270093</c:v>
                </c:pt>
                <c:pt idx="80">
                  <c:v>178.36442889833086</c:v>
                </c:pt>
                <c:pt idx="81">
                  <c:v>178.36751551885905</c:v>
                </c:pt>
                <c:pt idx="82">
                  <c:v>178.17072105119581</c:v>
                </c:pt>
                <c:pt idx="83">
                  <c:v>177.79952515312075</c:v>
                </c:pt>
                <c:pt idx="84">
                  <c:v>177.24291610374195</c:v>
                </c:pt>
                <c:pt idx="85">
                  <c:v>176.48099340133393</c:v>
                </c:pt>
                <c:pt idx="86">
                  <c:v>175.56155976542777</c:v>
                </c:pt>
                <c:pt idx="87">
                  <c:v>174.47383012780415</c:v>
                </c:pt>
                <c:pt idx="88">
                  <c:v>173.16756954575908</c:v>
                </c:pt>
                <c:pt idx="89">
                  <c:v>171.71026894877969</c:v>
                </c:pt>
                <c:pt idx="90">
                  <c:v>170.10382704046521</c:v>
                </c:pt>
                <c:pt idx="91">
                  <c:v>168.33772558616312</c:v>
                </c:pt>
                <c:pt idx="92">
                  <c:v>166.3888868226534</c:v>
                </c:pt>
                <c:pt idx="93">
                  <c:v>164.29390865814557</c:v>
                </c:pt>
                <c:pt idx="94">
                  <c:v>162.06926982128141</c:v>
                </c:pt>
                <c:pt idx="95">
                  <c:v>159.711075154957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89.025964634875592</c:v>
                </c:pt>
                <c:pt idx="43">
                  <c:v>92.496260167486383</c:v>
                </c:pt>
                <c:pt idx="44">
                  <c:v>96.120205415871453</c:v>
                </c:pt>
                <c:pt idx="45">
                  <c:v>99.795799124013655</c:v>
                </c:pt>
                <c:pt idx="46">
                  <c:v>103.43247522885295</c:v>
                </c:pt>
                <c:pt idx="47">
                  <c:v>107.07760501581652</c:v>
                </c:pt>
                <c:pt idx="48">
                  <c:v>110.8299396456791</c:v>
                </c:pt>
                <c:pt idx="49">
                  <c:v>114.73127867088976</c:v>
                </c:pt>
                <c:pt idx="50">
                  <c:v>118.7709358210879</c:v>
                </c:pt>
                <c:pt idx="51">
                  <c:v>123.05974171581332</c:v>
                </c:pt>
                <c:pt idx="52">
                  <c:v>127.44733985165664</c:v>
                </c:pt>
                <c:pt idx="53">
                  <c:v>131.67312923493927</c:v>
                </c:pt>
                <c:pt idx="54">
                  <c:v>135.89270990994498</c:v>
                </c:pt>
                <c:pt idx="55">
                  <c:v>140.20289900760577</c:v>
                </c:pt>
                <c:pt idx="56">
                  <c:v>144.62837452402462</c:v>
                </c:pt>
                <c:pt idx="57">
                  <c:v>149.16062074421501</c:v>
                </c:pt>
                <c:pt idx="58">
                  <c:v>153.78373241753329</c:v>
                </c:pt>
                <c:pt idx="59">
                  <c:v>158.46727820898428</c:v>
                </c:pt>
                <c:pt idx="60">
                  <c:v>163.12328077211373</c:v>
                </c:pt>
                <c:pt idx="61">
                  <c:v>167.75270263277932</c:v>
                </c:pt>
                <c:pt idx="62">
                  <c:v>172.35778406344889</c:v>
                </c:pt>
                <c:pt idx="63">
                  <c:v>176.93220179321861</c:v>
                </c:pt>
                <c:pt idx="64">
                  <c:v>181.44634772090197</c:v>
                </c:pt>
                <c:pt idx="65">
                  <c:v>185.90427198035567</c:v>
                </c:pt>
                <c:pt idx="66">
                  <c:v>190.27525899674754</c:v>
                </c:pt>
                <c:pt idx="67">
                  <c:v>194.5463254431927</c:v>
                </c:pt>
                <c:pt idx="68">
                  <c:v>198.6717636582672</c:v>
                </c:pt>
                <c:pt idx="69">
                  <c:v>202.64900364437187</c:v>
                </c:pt>
                <c:pt idx="70">
                  <c:v>206.47474045926921</c:v>
                </c:pt>
                <c:pt idx="71">
                  <c:v>210.08676064314477</c:v>
                </c:pt>
                <c:pt idx="72">
                  <c:v>213.5008188722658</c:v>
                </c:pt>
                <c:pt idx="73">
                  <c:v>216.70547937114156</c:v>
                </c:pt>
                <c:pt idx="74">
                  <c:v>219.66573659172667</c:v>
                </c:pt>
                <c:pt idx="75">
                  <c:v>222.37519287674772</c:v>
                </c:pt>
                <c:pt idx="76">
                  <c:v>224.82364897566876</c:v>
                </c:pt>
                <c:pt idx="77">
                  <c:v>227.00971468984022</c:v>
                </c:pt>
                <c:pt idx="78">
                  <c:v>228.88962066616273</c:v>
                </c:pt>
                <c:pt idx="79">
                  <c:v>230.48261263533817</c:v>
                </c:pt>
                <c:pt idx="80">
                  <c:v>231.7792199888934</c:v>
                </c:pt>
                <c:pt idx="81">
                  <c:v>232.75437043512551</c:v>
                </c:pt>
                <c:pt idx="82">
                  <c:v>233.40664269713562</c:v>
                </c:pt>
                <c:pt idx="83">
                  <c:v>233.75818901215655</c:v>
                </c:pt>
                <c:pt idx="84">
                  <c:v>233.79542017538753</c:v>
                </c:pt>
                <c:pt idx="85">
                  <c:v>233.49673947189348</c:v>
                </c:pt>
                <c:pt idx="86">
                  <c:v>232.90913527872613</c:v>
                </c:pt>
                <c:pt idx="87">
                  <c:v>232.02187058151571</c:v>
                </c:pt>
                <c:pt idx="88">
                  <c:v>230.78541096322988</c:v>
                </c:pt>
                <c:pt idx="89">
                  <c:v>229.26907203828367</c:v>
                </c:pt>
                <c:pt idx="90">
                  <c:v>227.4770469733229</c:v>
                </c:pt>
                <c:pt idx="91">
                  <c:v>225.40196912898273</c:v>
                </c:pt>
                <c:pt idx="92">
                  <c:v>223.02205725084275</c:v>
                </c:pt>
                <c:pt idx="93">
                  <c:v>220.38006487863663</c:v>
                </c:pt>
                <c:pt idx="94">
                  <c:v>217.49744469681951</c:v>
                </c:pt>
                <c:pt idx="95">
                  <c:v>214.375787791346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17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3092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26122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19692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58702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7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693242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7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13583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7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0794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9226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673024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1286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17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952050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chart" Target="../charts/chart9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87.xml"/><Relationship Id="rId10" Type="http://schemas.openxmlformats.org/officeDocument/2006/relationships/tags" Target="../tags/tag92.xml"/><Relationship Id="rId4" Type="http://schemas.openxmlformats.org/officeDocument/2006/relationships/tags" Target="../tags/tag86.xml"/><Relationship Id="rId9" Type="http://schemas.openxmlformats.org/officeDocument/2006/relationships/tags" Target="../tags/tag9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12" Type="http://schemas.openxmlformats.org/officeDocument/2006/relationships/chart" Target="../charts/chart10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97.xml"/><Relationship Id="rId10" Type="http://schemas.openxmlformats.org/officeDocument/2006/relationships/tags" Target="../tags/tag102.xml"/><Relationship Id="rId4" Type="http://schemas.openxmlformats.org/officeDocument/2006/relationships/tags" Target="../tags/tag96.xml"/><Relationship Id="rId9" Type="http://schemas.openxmlformats.org/officeDocument/2006/relationships/tags" Target="../tags/tag10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12" Type="http://schemas.openxmlformats.org/officeDocument/2006/relationships/chart" Target="../charts/chart11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07.xml"/><Relationship Id="rId10" Type="http://schemas.openxmlformats.org/officeDocument/2006/relationships/tags" Target="../tags/tag112.xml"/><Relationship Id="rId4" Type="http://schemas.openxmlformats.org/officeDocument/2006/relationships/tags" Target="../tags/tag106.xml"/><Relationship Id="rId9" Type="http://schemas.openxmlformats.org/officeDocument/2006/relationships/tags" Target="../tags/tag1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12" Type="http://schemas.openxmlformats.org/officeDocument/2006/relationships/chart" Target="../charts/chart12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tags" Target="../tags/tag11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17.xml"/><Relationship Id="rId10" Type="http://schemas.openxmlformats.org/officeDocument/2006/relationships/tags" Target="../tags/tag122.xml"/><Relationship Id="rId4" Type="http://schemas.openxmlformats.org/officeDocument/2006/relationships/tags" Target="../tags/tag116.xml"/><Relationship Id="rId9" Type="http://schemas.openxmlformats.org/officeDocument/2006/relationships/tags" Target="../tags/tag12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30.xml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12" Type="http://schemas.openxmlformats.org/officeDocument/2006/relationships/chart" Target="../charts/chart13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27.xml"/><Relationship Id="rId10" Type="http://schemas.openxmlformats.org/officeDocument/2006/relationships/tags" Target="../tags/tag132.xml"/><Relationship Id="rId4" Type="http://schemas.openxmlformats.org/officeDocument/2006/relationships/tags" Target="../tags/tag126.xml"/><Relationship Id="rId9" Type="http://schemas.openxmlformats.org/officeDocument/2006/relationships/tags" Target="../tags/tag13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40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12" Type="http://schemas.openxmlformats.org/officeDocument/2006/relationships/chart" Target="../charts/chart14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37.xml"/><Relationship Id="rId10" Type="http://schemas.openxmlformats.org/officeDocument/2006/relationships/tags" Target="../tags/tag142.xml"/><Relationship Id="rId4" Type="http://schemas.openxmlformats.org/officeDocument/2006/relationships/tags" Target="../tags/tag136.xml"/><Relationship Id="rId9" Type="http://schemas.openxmlformats.org/officeDocument/2006/relationships/tags" Target="../tags/tag14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50.xml"/><Relationship Id="rId3" Type="http://schemas.openxmlformats.org/officeDocument/2006/relationships/tags" Target="../tags/tag145.xml"/><Relationship Id="rId7" Type="http://schemas.openxmlformats.org/officeDocument/2006/relationships/tags" Target="../tags/tag149.xml"/><Relationship Id="rId12" Type="http://schemas.openxmlformats.org/officeDocument/2006/relationships/chart" Target="../charts/chart15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tags" Target="../tags/tag14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47.xml"/><Relationship Id="rId10" Type="http://schemas.openxmlformats.org/officeDocument/2006/relationships/tags" Target="../tags/tag152.xml"/><Relationship Id="rId4" Type="http://schemas.openxmlformats.org/officeDocument/2006/relationships/tags" Target="../tags/tag146.xml"/><Relationship Id="rId9" Type="http://schemas.openxmlformats.org/officeDocument/2006/relationships/tags" Target="../tags/tag15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60.xml"/><Relationship Id="rId3" Type="http://schemas.openxmlformats.org/officeDocument/2006/relationships/tags" Target="../tags/tag155.xml"/><Relationship Id="rId7" Type="http://schemas.openxmlformats.org/officeDocument/2006/relationships/tags" Target="../tags/tag159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tags" Target="../tags/tag158.xml"/><Relationship Id="rId11" Type="http://schemas.openxmlformats.org/officeDocument/2006/relationships/chart" Target="../charts/chart16.xml"/><Relationship Id="rId5" Type="http://schemas.openxmlformats.org/officeDocument/2006/relationships/tags" Target="../tags/tag157.xml"/><Relationship Id="rId10" Type="http://schemas.openxmlformats.org/officeDocument/2006/relationships/slideLayout" Target="../slideLayouts/slideLayout10.xml"/><Relationship Id="rId4" Type="http://schemas.openxmlformats.org/officeDocument/2006/relationships/tags" Target="../tags/tag156.xml"/><Relationship Id="rId9" Type="http://schemas.openxmlformats.org/officeDocument/2006/relationships/tags" Target="../tags/tag16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12" Type="http://schemas.openxmlformats.org/officeDocument/2006/relationships/chart" Target="../charts/chart17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tags" Target="../tags/tag167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66.xml"/><Relationship Id="rId10" Type="http://schemas.openxmlformats.org/officeDocument/2006/relationships/tags" Target="../tags/tag171.xml"/><Relationship Id="rId4" Type="http://schemas.openxmlformats.org/officeDocument/2006/relationships/tags" Target="../tags/tag165.xml"/><Relationship Id="rId9" Type="http://schemas.openxmlformats.org/officeDocument/2006/relationships/tags" Target="../tags/tag17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7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12" Type="http://schemas.openxmlformats.org/officeDocument/2006/relationships/chart" Target="../charts/chart18.xml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6" Type="http://schemas.openxmlformats.org/officeDocument/2006/relationships/tags" Target="../tags/tag177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76.xml"/><Relationship Id="rId10" Type="http://schemas.openxmlformats.org/officeDocument/2006/relationships/tags" Target="../tags/tag181.xml"/><Relationship Id="rId4" Type="http://schemas.openxmlformats.org/officeDocument/2006/relationships/tags" Target="../tags/tag175.xml"/><Relationship Id="rId9" Type="http://schemas.openxmlformats.org/officeDocument/2006/relationships/tags" Target="../tags/tag18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3" Type="http://schemas.openxmlformats.org/officeDocument/2006/relationships/tags" Target="../tags/tag184.xml"/><Relationship Id="rId7" Type="http://schemas.openxmlformats.org/officeDocument/2006/relationships/tags" Target="../tags/tag188.xml"/><Relationship Id="rId12" Type="http://schemas.openxmlformats.org/officeDocument/2006/relationships/chart" Target="../charts/chart19.xml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tags" Target="../tags/tag187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86.xml"/><Relationship Id="rId10" Type="http://schemas.openxmlformats.org/officeDocument/2006/relationships/tags" Target="../tags/tag191.xml"/><Relationship Id="rId4" Type="http://schemas.openxmlformats.org/officeDocument/2006/relationships/tags" Target="../tags/tag185.xml"/><Relationship Id="rId9" Type="http://schemas.openxmlformats.org/officeDocument/2006/relationships/tags" Target="../tags/tag190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chart" Target="../charts/chart20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tags" Target="../tags/tag197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96.xml"/><Relationship Id="rId10" Type="http://schemas.openxmlformats.org/officeDocument/2006/relationships/tags" Target="../tags/tag201.xml"/><Relationship Id="rId4" Type="http://schemas.openxmlformats.org/officeDocument/2006/relationships/tags" Target="../tags/tag195.xml"/><Relationship Id="rId9" Type="http://schemas.openxmlformats.org/officeDocument/2006/relationships/tags" Target="../tags/tag200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09.xml"/><Relationship Id="rId3" Type="http://schemas.openxmlformats.org/officeDocument/2006/relationships/tags" Target="../tags/tag204.xml"/><Relationship Id="rId7" Type="http://schemas.openxmlformats.org/officeDocument/2006/relationships/tags" Target="../tags/tag208.xml"/><Relationship Id="rId12" Type="http://schemas.openxmlformats.org/officeDocument/2006/relationships/chart" Target="../charts/chart21.xml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6" Type="http://schemas.openxmlformats.org/officeDocument/2006/relationships/tags" Target="../tags/tag207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06.xml"/><Relationship Id="rId10" Type="http://schemas.openxmlformats.org/officeDocument/2006/relationships/tags" Target="../tags/tag211.xml"/><Relationship Id="rId4" Type="http://schemas.openxmlformats.org/officeDocument/2006/relationships/tags" Target="../tags/tag205.xml"/><Relationship Id="rId9" Type="http://schemas.openxmlformats.org/officeDocument/2006/relationships/tags" Target="../tags/tag210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219.xml"/><Relationship Id="rId3" Type="http://schemas.openxmlformats.org/officeDocument/2006/relationships/tags" Target="../tags/tag214.xml"/><Relationship Id="rId7" Type="http://schemas.openxmlformats.org/officeDocument/2006/relationships/tags" Target="../tags/tag218.xml"/><Relationship Id="rId12" Type="http://schemas.openxmlformats.org/officeDocument/2006/relationships/chart" Target="../charts/chart22.xml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6" Type="http://schemas.openxmlformats.org/officeDocument/2006/relationships/tags" Target="../tags/tag217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16.xml"/><Relationship Id="rId10" Type="http://schemas.openxmlformats.org/officeDocument/2006/relationships/tags" Target="../tags/tag221.xml"/><Relationship Id="rId4" Type="http://schemas.openxmlformats.org/officeDocument/2006/relationships/tags" Target="../tags/tag215.xml"/><Relationship Id="rId9" Type="http://schemas.openxmlformats.org/officeDocument/2006/relationships/tags" Target="../tags/tag220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229.xml"/><Relationship Id="rId3" Type="http://schemas.openxmlformats.org/officeDocument/2006/relationships/tags" Target="../tags/tag224.xml"/><Relationship Id="rId7" Type="http://schemas.openxmlformats.org/officeDocument/2006/relationships/tags" Target="../tags/tag228.xml"/><Relationship Id="rId12" Type="http://schemas.openxmlformats.org/officeDocument/2006/relationships/chart" Target="../charts/chart23.xml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6" Type="http://schemas.openxmlformats.org/officeDocument/2006/relationships/tags" Target="../tags/tag227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26.xml"/><Relationship Id="rId10" Type="http://schemas.openxmlformats.org/officeDocument/2006/relationships/tags" Target="../tags/tag231.xml"/><Relationship Id="rId4" Type="http://schemas.openxmlformats.org/officeDocument/2006/relationships/tags" Target="../tags/tag225.xml"/><Relationship Id="rId9" Type="http://schemas.openxmlformats.org/officeDocument/2006/relationships/tags" Target="../tags/tag230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39.xml"/><Relationship Id="rId3" Type="http://schemas.openxmlformats.org/officeDocument/2006/relationships/tags" Target="../tags/tag234.xml"/><Relationship Id="rId7" Type="http://schemas.openxmlformats.org/officeDocument/2006/relationships/tags" Target="../tags/tag238.xml"/><Relationship Id="rId12" Type="http://schemas.openxmlformats.org/officeDocument/2006/relationships/chart" Target="../charts/chart24.xml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6" Type="http://schemas.openxmlformats.org/officeDocument/2006/relationships/tags" Target="../tags/tag237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36.xml"/><Relationship Id="rId10" Type="http://schemas.openxmlformats.org/officeDocument/2006/relationships/tags" Target="../tags/tag241.xml"/><Relationship Id="rId4" Type="http://schemas.openxmlformats.org/officeDocument/2006/relationships/tags" Target="../tags/tag235.xml"/><Relationship Id="rId9" Type="http://schemas.openxmlformats.org/officeDocument/2006/relationships/tags" Target="../tags/tag240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249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12" Type="http://schemas.openxmlformats.org/officeDocument/2006/relationships/chart" Target="../charts/chart25.xml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6" Type="http://schemas.openxmlformats.org/officeDocument/2006/relationships/tags" Target="../tags/tag247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46.xml"/><Relationship Id="rId10" Type="http://schemas.openxmlformats.org/officeDocument/2006/relationships/tags" Target="../tags/tag251.xml"/><Relationship Id="rId4" Type="http://schemas.openxmlformats.org/officeDocument/2006/relationships/tags" Target="../tags/tag245.xml"/><Relationship Id="rId9" Type="http://schemas.openxmlformats.org/officeDocument/2006/relationships/tags" Target="../tags/tag250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59.xml"/><Relationship Id="rId3" Type="http://schemas.openxmlformats.org/officeDocument/2006/relationships/tags" Target="../tags/tag254.xml"/><Relationship Id="rId7" Type="http://schemas.openxmlformats.org/officeDocument/2006/relationships/tags" Target="../tags/tag258.xml"/><Relationship Id="rId12" Type="http://schemas.openxmlformats.org/officeDocument/2006/relationships/chart" Target="../charts/chart26.xml"/><Relationship Id="rId2" Type="http://schemas.openxmlformats.org/officeDocument/2006/relationships/tags" Target="../tags/tag253.xml"/><Relationship Id="rId1" Type="http://schemas.openxmlformats.org/officeDocument/2006/relationships/tags" Target="../tags/tag252.xml"/><Relationship Id="rId6" Type="http://schemas.openxmlformats.org/officeDocument/2006/relationships/tags" Target="../tags/tag257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56.xml"/><Relationship Id="rId10" Type="http://schemas.openxmlformats.org/officeDocument/2006/relationships/tags" Target="../tags/tag261.xml"/><Relationship Id="rId4" Type="http://schemas.openxmlformats.org/officeDocument/2006/relationships/tags" Target="../tags/tag255.xml"/><Relationship Id="rId9" Type="http://schemas.openxmlformats.org/officeDocument/2006/relationships/tags" Target="../tags/tag260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69.xml"/><Relationship Id="rId3" Type="http://schemas.openxmlformats.org/officeDocument/2006/relationships/tags" Target="../tags/tag264.xml"/><Relationship Id="rId7" Type="http://schemas.openxmlformats.org/officeDocument/2006/relationships/tags" Target="../tags/tag268.xml"/><Relationship Id="rId12" Type="http://schemas.openxmlformats.org/officeDocument/2006/relationships/chart" Target="../charts/chart27.xml"/><Relationship Id="rId2" Type="http://schemas.openxmlformats.org/officeDocument/2006/relationships/tags" Target="../tags/tag263.xml"/><Relationship Id="rId1" Type="http://schemas.openxmlformats.org/officeDocument/2006/relationships/tags" Target="../tags/tag262.xml"/><Relationship Id="rId6" Type="http://schemas.openxmlformats.org/officeDocument/2006/relationships/tags" Target="../tags/tag267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66.xml"/><Relationship Id="rId10" Type="http://schemas.openxmlformats.org/officeDocument/2006/relationships/tags" Target="../tags/tag271.xml"/><Relationship Id="rId4" Type="http://schemas.openxmlformats.org/officeDocument/2006/relationships/tags" Target="../tags/tag265.xml"/><Relationship Id="rId9" Type="http://schemas.openxmlformats.org/officeDocument/2006/relationships/tags" Target="../tags/tag27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chart" Target="../charts/chart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7.xml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279.xml"/><Relationship Id="rId3" Type="http://schemas.openxmlformats.org/officeDocument/2006/relationships/tags" Target="../tags/tag274.xml"/><Relationship Id="rId7" Type="http://schemas.openxmlformats.org/officeDocument/2006/relationships/tags" Target="../tags/tag278.xml"/><Relationship Id="rId12" Type="http://schemas.openxmlformats.org/officeDocument/2006/relationships/chart" Target="../charts/chart28.xml"/><Relationship Id="rId2" Type="http://schemas.openxmlformats.org/officeDocument/2006/relationships/tags" Target="../tags/tag273.xml"/><Relationship Id="rId1" Type="http://schemas.openxmlformats.org/officeDocument/2006/relationships/tags" Target="../tags/tag272.xml"/><Relationship Id="rId6" Type="http://schemas.openxmlformats.org/officeDocument/2006/relationships/tags" Target="../tags/tag277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76.xml"/><Relationship Id="rId10" Type="http://schemas.openxmlformats.org/officeDocument/2006/relationships/tags" Target="../tags/tag281.xml"/><Relationship Id="rId4" Type="http://schemas.openxmlformats.org/officeDocument/2006/relationships/tags" Target="../tags/tag275.xml"/><Relationship Id="rId9" Type="http://schemas.openxmlformats.org/officeDocument/2006/relationships/tags" Target="../tags/tag280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289.xml"/><Relationship Id="rId3" Type="http://schemas.openxmlformats.org/officeDocument/2006/relationships/tags" Target="../tags/tag284.xml"/><Relationship Id="rId7" Type="http://schemas.openxmlformats.org/officeDocument/2006/relationships/tags" Target="../tags/tag288.xml"/><Relationship Id="rId12" Type="http://schemas.openxmlformats.org/officeDocument/2006/relationships/chart" Target="../charts/chart29.xml"/><Relationship Id="rId2" Type="http://schemas.openxmlformats.org/officeDocument/2006/relationships/tags" Target="../tags/tag283.xml"/><Relationship Id="rId1" Type="http://schemas.openxmlformats.org/officeDocument/2006/relationships/tags" Target="../tags/tag282.xml"/><Relationship Id="rId6" Type="http://schemas.openxmlformats.org/officeDocument/2006/relationships/tags" Target="../tags/tag287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86.xml"/><Relationship Id="rId10" Type="http://schemas.openxmlformats.org/officeDocument/2006/relationships/tags" Target="../tags/tag291.xml"/><Relationship Id="rId4" Type="http://schemas.openxmlformats.org/officeDocument/2006/relationships/tags" Target="../tags/tag285.xml"/><Relationship Id="rId9" Type="http://schemas.openxmlformats.org/officeDocument/2006/relationships/tags" Target="../tags/tag290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299.xml"/><Relationship Id="rId3" Type="http://schemas.openxmlformats.org/officeDocument/2006/relationships/tags" Target="../tags/tag294.xml"/><Relationship Id="rId7" Type="http://schemas.openxmlformats.org/officeDocument/2006/relationships/tags" Target="../tags/tag298.xml"/><Relationship Id="rId12" Type="http://schemas.openxmlformats.org/officeDocument/2006/relationships/chart" Target="../charts/chart30.xml"/><Relationship Id="rId2" Type="http://schemas.openxmlformats.org/officeDocument/2006/relationships/tags" Target="../tags/tag293.xml"/><Relationship Id="rId1" Type="http://schemas.openxmlformats.org/officeDocument/2006/relationships/tags" Target="../tags/tag292.xml"/><Relationship Id="rId6" Type="http://schemas.openxmlformats.org/officeDocument/2006/relationships/tags" Target="../tags/tag297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96.xml"/><Relationship Id="rId10" Type="http://schemas.openxmlformats.org/officeDocument/2006/relationships/tags" Target="../tags/tag301.xml"/><Relationship Id="rId4" Type="http://schemas.openxmlformats.org/officeDocument/2006/relationships/tags" Target="../tags/tag295.xml"/><Relationship Id="rId9" Type="http://schemas.openxmlformats.org/officeDocument/2006/relationships/tags" Target="../tags/tag30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chart" Target="../charts/chart3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7.xml"/><Relationship Id="rId10" Type="http://schemas.openxmlformats.org/officeDocument/2006/relationships/tags" Target="../tags/tag32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chart" Target="../charts/chart4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37.xml"/><Relationship Id="rId10" Type="http://schemas.openxmlformats.org/officeDocument/2006/relationships/tags" Target="../tags/tag42.xml"/><Relationship Id="rId4" Type="http://schemas.openxmlformats.org/officeDocument/2006/relationships/tags" Target="../tags/tag36.xml"/><Relationship Id="rId9" Type="http://schemas.openxmlformats.org/officeDocument/2006/relationships/tags" Target="../tags/tag4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chart" Target="../charts/chart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47.xml"/><Relationship Id="rId10" Type="http://schemas.openxmlformats.org/officeDocument/2006/relationships/tags" Target="../tags/tag52.xml"/><Relationship Id="rId4" Type="http://schemas.openxmlformats.org/officeDocument/2006/relationships/tags" Target="../tags/tag46.xml"/><Relationship Id="rId9" Type="http://schemas.openxmlformats.org/officeDocument/2006/relationships/tags" Target="../tags/tag5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chart" Target="../charts/chart6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57.xml"/><Relationship Id="rId10" Type="http://schemas.openxmlformats.org/officeDocument/2006/relationships/tags" Target="../tags/tag62.xml"/><Relationship Id="rId4" Type="http://schemas.openxmlformats.org/officeDocument/2006/relationships/tags" Target="../tags/tag56.xml"/><Relationship Id="rId9" Type="http://schemas.openxmlformats.org/officeDocument/2006/relationships/tags" Target="../tags/tag6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12" Type="http://schemas.openxmlformats.org/officeDocument/2006/relationships/chart" Target="../charts/chart7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67.xml"/><Relationship Id="rId10" Type="http://schemas.openxmlformats.org/officeDocument/2006/relationships/tags" Target="../tags/tag72.xml"/><Relationship Id="rId4" Type="http://schemas.openxmlformats.org/officeDocument/2006/relationships/tags" Target="../tags/tag66.xml"/><Relationship Id="rId9" Type="http://schemas.openxmlformats.org/officeDocument/2006/relationships/tags" Target="../tags/tag7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chart" Target="../charts/chart8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77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všech hospitalizovaných pacientů s COVID-19</a:t>
            </a:r>
          </a:p>
        </p:txBody>
      </p:sp>
    </p:spTree>
    <p:extLst>
      <p:ext uri="{BB962C8B-B14F-4D97-AF65-F5344CB8AC3E}">
        <p14:creationId xmlns:p14="http://schemas.microsoft.com/office/powerpoint/2010/main" val="805231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Královéhrad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254230" y="3518139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58888763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FC995B18-2177-456B-B706-9FF9B9B9B1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8195961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5685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0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139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21B44F2C-1B49-4B5C-824C-904B24E2D05B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69265" y="2981877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590F91E0-FE65-4D65-9C7E-14A3C85C53BE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73933" y="3835663"/>
            <a:ext cx="2221115" cy="2677656"/>
            <a:chOff x="9993159" y="3767843"/>
            <a:chExt cx="2221115" cy="2677656"/>
          </a:xfrm>
        </p:grpSpPr>
        <p:grpSp>
          <p:nvGrpSpPr>
            <p:cNvPr id="27" name="Skupina 26">
              <a:extLst>
                <a:ext uri="{FF2B5EF4-FFF2-40B4-BE49-F238E27FC236}">
                  <a16:creationId xmlns:a16="http://schemas.microsoft.com/office/drawing/2014/main" id="{AD48E98E-8DC9-464D-B441-67577BB91729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7" name="Přímá spojnice 36">
                <a:extLst>
                  <a:ext uri="{FF2B5EF4-FFF2-40B4-BE49-F238E27FC236}">
                    <a16:creationId xmlns:a16="http://schemas.microsoft.com/office/drawing/2014/main" id="{EF9DD34D-F779-48E9-947C-B6443A59BFB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B6EC3EFD-DC2F-423F-A164-3A8F376AD96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2" name="Obdélník 41">
                <a:extLst>
                  <a:ext uri="{FF2B5EF4-FFF2-40B4-BE49-F238E27FC236}">
                    <a16:creationId xmlns:a16="http://schemas.microsoft.com/office/drawing/2014/main" id="{5FC28658-EB5E-48DC-8ACE-11231FF5027D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3" name="TextovéPole 28">
                <a:extLst>
                  <a:ext uri="{FF2B5EF4-FFF2-40B4-BE49-F238E27FC236}">
                    <a16:creationId xmlns:a16="http://schemas.microsoft.com/office/drawing/2014/main" id="{BB86D447-5F3C-48E5-93EF-5E0D2242717A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</a:t>
                </a:r>
                <a:r>
                  <a:rPr kumimoji="0" lang="cs-CZ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zikový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B679A2E6-6A39-41E2-B781-3F26908CE356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0760797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Pardubi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254230" y="3518139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96913355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A364BDC4-4BC4-407D-95DC-7F4948D2C0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2417834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1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1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1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252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0AF3C731-F39C-49F1-B6CD-DB33C83C0AE9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69265" y="2981877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007C6CF3-ADCB-472A-9040-B0FFDD9CF13E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73933" y="3835663"/>
            <a:ext cx="2221115" cy="2677656"/>
            <a:chOff x="9993159" y="3767843"/>
            <a:chExt cx="2221115" cy="2677656"/>
          </a:xfrm>
        </p:grpSpPr>
        <p:grpSp>
          <p:nvGrpSpPr>
            <p:cNvPr id="27" name="Skupina 26">
              <a:extLst>
                <a:ext uri="{FF2B5EF4-FFF2-40B4-BE49-F238E27FC236}">
                  <a16:creationId xmlns:a16="http://schemas.microsoft.com/office/drawing/2014/main" id="{90F525C7-1A96-4F48-92DD-CF335D94FA9C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7" name="Přímá spojnice 36">
                <a:extLst>
                  <a:ext uri="{FF2B5EF4-FFF2-40B4-BE49-F238E27FC236}">
                    <a16:creationId xmlns:a16="http://schemas.microsoft.com/office/drawing/2014/main" id="{6E4AC6F6-4216-4D09-B98E-DBCD6F464CB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3038E58D-0951-41AA-990B-99ADE02A572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2" name="Obdélník 41">
                <a:extLst>
                  <a:ext uri="{FF2B5EF4-FFF2-40B4-BE49-F238E27FC236}">
                    <a16:creationId xmlns:a16="http://schemas.microsoft.com/office/drawing/2014/main" id="{41FDAB1F-0EB6-4F26-9B3B-1227258E719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3" name="TextovéPole 28">
                <a:extLst>
                  <a:ext uri="{FF2B5EF4-FFF2-40B4-BE49-F238E27FC236}">
                    <a16:creationId xmlns:a16="http://schemas.microsoft.com/office/drawing/2014/main" id="{85692A02-47D0-4AF4-8EE0-0CAB1D467EBA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</a:t>
                </a:r>
                <a:r>
                  <a:rPr kumimoji="0" lang="cs-CZ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zikový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72660425-1BDF-4D0A-B072-16DD89F81DCB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0885452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Kraj Vysočin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254230" y="3518139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8130519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CAEE5561-4A69-4FF3-AAEA-D3CAADDD80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7342866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657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DD446B74-0179-41B4-9C8B-146CD685A7B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69265" y="2981877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F2D16D90-E286-4FEF-BDEF-A318E8BF3D4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73933" y="3835663"/>
            <a:ext cx="2221115" cy="2677656"/>
            <a:chOff x="9993159" y="3767843"/>
            <a:chExt cx="2221115" cy="2677656"/>
          </a:xfrm>
        </p:grpSpPr>
        <p:grpSp>
          <p:nvGrpSpPr>
            <p:cNvPr id="27" name="Skupina 26">
              <a:extLst>
                <a:ext uri="{FF2B5EF4-FFF2-40B4-BE49-F238E27FC236}">
                  <a16:creationId xmlns:a16="http://schemas.microsoft.com/office/drawing/2014/main" id="{3A7FDDD4-8304-4422-98F3-04F310D91A9F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7" name="Přímá spojnice 36">
                <a:extLst>
                  <a:ext uri="{FF2B5EF4-FFF2-40B4-BE49-F238E27FC236}">
                    <a16:creationId xmlns:a16="http://schemas.microsoft.com/office/drawing/2014/main" id="{B7E517FE-9615-415B-9F5B-4FB7FAFD90A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FDC0CDCF-BEE4-42C1-806B-21C4967F911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2" name="Obdélník 41">
                <a:extLst>
                  <a:ext uri="{FF2B5EF4-FFF2-40B4-BE49-F238E27FC236}">
                    <a16:creationId xmlns:a16="http://schemas.microsoft.com/office/drawing/2014/main" id="{250B46DA-6F69-4574-BDFD-8EC03ED0D4FF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3" name="TextovéPole 28">
                <a:extLst>
                  <a:ext uri="{FF2B5EF4-FFF2-40B4-BE49-F238E27FC236}">
                    <a16:creationId xmlns:a16="http://schemas.microsoft.com/office/drawing/2014/main" id="{16816517-B466-459C-ACA8-6153ACC29BBF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</a:t>
                </a:r>
                <a:r>
                  <a:rPr kumimoji="0" lang="cs-CZ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zikový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79F46978-9A93-4A84-8F00-CA59AF2AA87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1566303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Jihomorav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254230" y="3518139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6151533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C20F25C9-86DC-4B11-9EF0-B577EBB84D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0173976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6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17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6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693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BDD2D5EE-2768-4A88-A648-03F73BE29E4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69265" y="2981877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0542B16D-05D7-471C-B39B-04E67A856C7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73933" y="3835663"/>
            <a:ext cx="2221115" cy="2677656"/>
            <a:chOff x="9993159" y="3767843"/>
            <a:chExt cx="2221115" cy="2677656"/>
          </a:xfrm>
        </p:grpSpPr>
        <p:grpSp>
          <p:nvGrpSpPr>
            <p:cNvPr id="27" name="Skupina 26">
              <a:extLst>
                <a:ext uri="{FF2B5EF4-FFF2-40B4-BE49-F238E27FC236}">
                  <a16:creationId xmlns:a16="http://schemas.microsoft.com/office/drawing/2014/main" id="{357C2473-0949-4A73-BFAE-F9129BFED708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7" name="Přímá spojnice 36">
                <a:extLst>
                  <a:ext uri="{FF2B5EF4-FFF2-40B4-BE49-F238E27FC236}">
                    <a16:creationId xmlns:a16="http://schemas.microsoft.com/office/drawing/2014/main" id="{B14F688C-7057-497C-872A-B3D3847E1FE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1BD2EBC0-06D9-4E29-86C3-73FAD393165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2" name="Obdélník 41">
                <a:extLst>
                  <a:ext uri="{FF2B5EF4-FFF2-40B4-BE49-F238E27FC236}">
                    <a16:creationId xmlns:a16="http://schemas.microsoft.com/office/drawing/2014/main" id="{37C52C5D-C178-4BAC-B3D9-53CD319B7A1A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3" name="TextovéPole 28">
                <a:extLst>
                  <a:ext uri="{FF2B5EF4-FFF2-40B4-BE49-F238E27FC236}">
                    <a16:creationId xmlns:a16="http://schemas.microsoft.com/office/drawing/2014/main" id="{8239DC68-FB06-47BF-B164-743CC82A2E01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</a:t>
                </a:r>
                <a:r>
                  <a:rPr kumimoji="0" lang="cs-CZ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zikový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D6C59DBC-11EC-42F5-B6E6-14A7616A429F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1068262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Olomou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254230" y="3518139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2315359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079EF9FF-5B5F-41FB-95A0-8BC01A9B16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4039241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6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397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A6D71D6C-D058-4FCA-AD61-7AAA123E2E0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69265" y="2981877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8CFFCC99-605E-4AA8-8B83-A0CFCB70C47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73933" y="3835663"/>
            <a:ext cx="2221115" cy="2677656"/>
            <a:chOff x="9993159" y="3767843"/>
            <a:chExt cx="2221115" cy="2677656"/>
          </a:xfrm>
        </p:grpSpPr>
        <p:grpSp>
          <p:nvGrpSpPr>
            <p:cNvPr id="27" name="Skupina 26">
              <a:extLst>
                <a:ext uri="{FF2B5EF4-FFF2-40B4-BE49-F238E27FC236}">
                  <a16:creationId xmlns:a16="http://schemas.microsoft.com/office/drawing/2014/main" id="{61FBE4AD-9CB5-42BD-8DEF-BF568E47327E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7" name="Přímá spojnice 36">
                <a:extLst>
                  <a:ext uri="{FF2B5EF4-FFF2-40B4-BE49-F238E27FC236}">
                    <a16:creationId xmlns:a16="http://schemas.microsoft.com/office/drawing/2014/main" id="{7AD82255-882D-4E2A-AB43-6341089118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99F83DFE-1DF7-4F28-A701-4729239FD47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2" name="Obdélník 41">
                <a:extLst>
                  <a:ext uri="{FF2B5EF4-FFF2-40B4-BE49-F238E27FC236}">
                    <a16:creationId xmlns:a16="http://schemas.microsoft.com/office/drawing/2014/main" id="{3B489DC5-BB5A-4895-9349-E91932D818EB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3" name="TextovéPole 28">
                <a:extLst>
                  <a:ext uri="{FF2B5EF4-FFF2-40B4-BE49-F238E27FC236}">
                    <a16:creationId xmlns:a16="http://schemas.microsoft.com/office/drawing/2014/main" id="{42073992-29F6-48E3-B789-AA69A7368F0F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</a:t>
                </a:r>
                <a:r>
                  <a:rPr kumimoji="0" lang="cs-CZ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zikový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56BD4B7A-B915-4C69-BC72-F185A1D6DEDC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995327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Zlín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254230" y="3518139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97725177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4C4F5CCA-A448-4F02-B618-F8089E791E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4938608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3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23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07C91F3-1E93-4A1E-9A25-D43B67006A4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69265" y="2981877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AC65DFFE-0A10-43AC-9E56-41DCDC3BE64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73933" y="3835663"/>
            <a:ext cx="2221115" cy="2677656"/>
            <a:chOff x="9993159" y="3767843"/>
            <a:chExt cx="2221115" cy="2677656"/>
          </a:xfrm>
        </p:grpSpPr>
        <p:grpSp>
          <p:nvGrpSpPr>
            <p:cNvPr id="27" name="Skupina 26">
              <a:extLst>
                <a:ext uri="{FF2B5EF4-FFF2-40B4-BE49-F238E27FC236}">
                  <a16:creationId xmlns:a16="http://schemas.microsoft.com/office/drawing/2014/main" id="{30E14822-9A7B-4AC8-BBF0-803CFD4BA562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7" name="Přímá spojnice 36">
                <a:extLst>
                  <a:ext uri="{FF2B5EF4-FFF2-40B4-BE49-F238E27FC236}">
                    <a16:creationId xmlns:a16="http://schemas.microsoft.com/office/drawing/2014/main" id="{35769BC4-DC17-4E13-BA16-BB2A139451C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50F52380-A56A-4EA7-A74F-CFFAA213FAB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2" name="Obdélník 41">
                <a:extLst>
                  <a:ext uri="{FF2B5EF4-FFF2-40B4-BE49-F238E27FC236}">
                    <a16:creationId xmlns:a16="http://schemas.microsoft.com/office/drawing/2014/main" id="{1E8222D8-B010-44B9-B987-2FF8ED3EF1D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3" name="TextovéPole 28">
                <a:extLst>
                  <a:ext uri="{FF2B5EF4-FFF2-40B4-BE49-F238E27FC236}">
                    <a16:creationId xmlns:a16="http://schemas.microsoft.com/office/drawing/2014/main" id="{A1B85369-7775-42A6-8FC3-B2D529868560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</a:t>
                </a:r>
                <a:r>
                  <a:rPr kumimoji="0" lang="cs-CZ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zikový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700A574F-B720-46B6-8A32-7689C43641A6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9867134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Moravskoslez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254230" y="3518139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7064961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8EF1DE73-00C8-47A3-8290-E398A63E05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3287755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1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1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7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28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9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3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8CE075A5-4DEA-4E17-8A78-C75FC467B5A9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69265" y="2981877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F4BC60D2-E6C4-42E3-9D0E-EAC4D650E14F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73933" y="3835663"/>
            <a:ext cx="2221115" cy="2677656"/>
            <a:chOff x="9993159" y="3767843"/>
            <a:chExt cx="2221115" cy="2677656"/>
          </a:xfrm>
        </p:grpSpPr>
        <p:grpSp>
          <p:nvGrpSpPr>
            <p:cNvPr id="27" name="Skupina 26">
              <a:extLst>
                <a:ext uri="{FF2B5EF4-FFF2-40B4-BE49-F238E27FC236}">
                  <a16:creationId xmlns:a16="http://schemas.microsoft.com/office/drawing/2014/main" id="{973682D8-F4EF-43D5-97BB-352BE7729CAA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7" name="Přímá spojnice 36">
                <a:extLst>
                  <a:ext uri="{FF2B5EF4-FFF2-40B4-BE49-F238E27FC236}">
                    <a16:creationId xmlns:a16="http://schemas.microsoft.com/office/drawing/2014/main" id="{45434176-0C4A-45D1-BF19-6D3219B2071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1CE38FD9-BEC4-490F-BD19-FFB5007A24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2" name="Obdélník 41">
                <a:extLst>
                  <a:ext uri="{FF2B5EF4-FFF2-40B4-BE49-F238E27FC236}">
                    <a16:creationId xmlns:a16="http://schemas.microsoft.com/office/drawing/2014/main" id="{A1F1122D-A805-4A3B-9BDE-47091A42F58F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3" name="TextovéPole 28">
                <a:extLst>
                  <a:ext uri="{FF2B5EF4-FFF2-40B4-BE49-F238E27FC236}">
                    <a16:creationId xmlns:a16="http://schemas.microsoft.com/office/drawing/2014/main" id="{CD850AE5-4F90-4BF0-8184-A83368D546DF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</a:t>
                </a:r>
                <a:r>
                  <a:rPr kumimoji="0" lang="cs-CZ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zikový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0EE2A114-E945-4A73-BFF0-C72C5E2382E4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891837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ě hospitalizovaných pacientů s COVID19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52615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74436040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pSp>
        <p:nvGrpSpPr>
          <p:cNvPr id="27" name="Skupina 26">
            <a:extLst>
              <a:ext uri="{FF2B5EF4-FFF2-40B4-BE49-F238E27FC236}">
                <a16:creationId xmlns:a16="http://schemas.microsoft.com/office/drawing/2014/main" id="{9EC607EB-14DE-46C3-8589-9F0AD23B14CF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993159" y="3767843"/>
            <a:ext cx="2148963" cy="2677656"/>
            <a:chOff x="9993159" y="3767843"/>
            <a:chExt cx="2148963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B1E1772A-2818-4B99-877B-AE8E07B88889}"/>
                </a:ext>
              </a:extLst>
            </p:cNvPr>
            <p:cNvGrpSpPr/>
            <p:nvPr>
              <p:custDataLst>
                <p:tags r:id="rId8"/>
              </p:custDataLst>
            </p:nvPr>
          </p:nvGrpSpPr>
          <p:grpSpPr>
            <a:xfrm>
              <a:off x="9993159" y="3767843"/>
              <a:ext cx="2148963" cy="2677656"/>
              <a:chOff x="10258697" y="3526984"/>
              <a:chExt cx="2148963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7D4C4791-7D75-4288-BA6A-DFC4C3C5B0D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D6EDF5A6-56EF-448D-B5B3-32A9B9DDD5C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2" name="Obdélník 31">
                <a:extLst>
                  <a:ext uri="{FF2B5EF4-FFF2-40B4-BE49-F238E27FC236}">
                    <a16:creationId xmlns:a16="http://schemas.microsoft.com/office/drawing/2014/main" id="{92A24BEC-F952-48BE-AC87-769AAE57EA6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3" name="TextovéPole 28">
                <a:extLst>
                  <a:ext uri="{FF2B5EF4-FFF2-40B4-BE49-F238E27FC236}">
                    <a16:creationId xmlns:a16="http://schemas.microsoft.com/office/drawing/2014/main" id="{74C9D482-79DF-4597-BC50-B80A8EA670E6}"/>
                  </a:ext>
                </a:extLst>
              </p:cNvPr>
              <p:cNvSpPr txBox="1"/>
              <p:nvPr/>
            </p:nvSpPr>
            <p:spPr>
              <a:xfrm>
                <a:off x="10630649" y="3526984"/>
                <a:ext cx="1777011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kumimoji="0" lang="cs-CZ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b="1" kern="0" dirty="0">
                    <a:latin typeface="+mj-lt"/>
                  </a:rPr>
                  <a:t>Sc</a:t>
                </a:r>
                <a:r>
                  <a:rPr lang="cs-CZ" sz="1200" b="1" dirty="0">
                    <a:latin typeface="+mj-lt"/>
                  </a:rPr>
                  <a:t>énář I</a:t>
                </a:r>
                <a:r>
                  <a:rPr lang="en-US" sz="1200" b="1" dirty="0">
                    <a:latin typeface="+mj-lt"/>
                  </a:rPr>
                  <a:t>I</a:t>
                </a:r>
                <a:r>
                  <a:rPr lang="cs-CZ" sz="1200" b="1" dirty="0">
                    <a:latin typeface="+mj-lt"/>
                  </a:rPr>
                  <a:t>I:</a:t>
                </a:r>
                <a:r>
                  <a:rPr lang="cs-CZ" sz="1200" dirty="0">
                    <a:latin typeface="+mj-lt"/>
                  </a:rPr>
                  <a:t> rizikový vývoj s významnými zdravotními dopady, </a:t>
                </a:r>
                <a:r>
                  <a:rPr lang="cs-CZ" sz="1200" u="sng" dirty="0">
                    <a:latin typeface="+mj-lt"/>
                  </a:rPr>
                  <a:t>významný</a:t>
                </a:r>
                <a:r>
                  <a:rPr lang="cs-CZ" sz="1200" dirty="0">
                    <a:latin typeface="+mj-lt"/>
                  </a:rPr>
                  <a:t> další růst</a:t>
                </a: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I:</a:t>
                </a:r>
                <a:r>
                  <a:rPr lang="cs-CZ" sz="1200" dirty="0"/>
                  <a:t> rizikový vývoj s významnými zdravotními dopady, </a:t>
                </a:r>
                <a:r>
                  <a:rPr lang="cs-CZ" sz="1200" u="sng" dirty="0"/>
                  <a:t>střední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</a:t>
                </a:r>
                <a:r>
                  <a:rPr lang="cs-CZ" sz="1200" dirty="0"/>
                  <a:t>: rizikový vývoj s významnými zdravotními dopady, </a:t>
                </a:r>
                <a:r>
                  <a:rPr lang="cs-CZ" sz="1200" u="sng" dirty="0"/>
                  <a:t>nízký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98F6C1C2-AB2B-4ABE-BFCD-78779EBE7290}"/>
                </a:ext>
              </a:extLst>
            </p:cNvPr>
            <p:cNvCxnSpPr>
              <a:cxnSpLocks/>
            </p:cNvCxnSpPr>
            <p:nvPr>
              <p:custDataLst>
                <p:tags r:id="rId9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0023553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. m. Prah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9263865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C4C982EF-B717-43BE-9CF5-F8AD4D5C0FE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AAD83FC6-A856-4C19-BEC7-7C974B6B5D14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677656"/>
            <a:chOff x="9993159" y="3767843"/>
            <a:chExt cx="2148963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815B6FB4-EA9C-4A7A-B149-3B897C8F8D5E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148963" cy="2677656"/>
              <a:chOff x="10258697" y="3526984"/>
              <a:chExt cx="2148963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ED0E2A7F-27B9-4146-802E-AB1CAD361C8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7BB5C61D-372B-41FC-A7D2-E9E676050A7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C3C95EAD-4697-4713-8C15-1BA1FEBBF955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8" name="TextovéPole 28">
                <a:extLst>
                  <a:ext uri="{FF2B5EF4-FFF2-40B4-BE49-F238E27FC236}">
                    <a16:creationId xmlns:a16="http://schemas.microsoft.com/office/drawing/2014/main" id="{714D5F4F-CACE-45F4-9172-CF5FAA89A45F}"/>
                  </a:ext>
                </a:extLst>
              </p:cNvPr>
              <p:cNvSpPr txBox="1"/>
              <p:nvPr/>
            </p:nvSpPr>
            <p:spPr>
              <a:xfrm>
                <a:off x="10630649" y="3526984"/>
                <a:ext cx="1777011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kumimoji="0" lang="cs-CZ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b="1" kern="0" dirty="0">
                    <a:latin typeface="+mj-lt"/>
                  </a:rPr>
                  <a:t>Sc</a:t>
                </a:r>
                <a:r>
                  <a:rPr lang="cs-CZ" sz="1200" b="1" dirty="0">
                    <a:latin typeface="+mj-lt"/>
                  </a:rPr>
                  <a:t>énář I</a:t>
                </a:r>
                <a:r>
                  <a:rPr lang="en-US" sz="1200" b="1" dirty="0">
                    <a:latin typeface="+mj-lt"/>
                  </a:rPr>
                  <a:t>I</a:t>
                </a:r>
                <a:r>
                  <a:rPr lang="cs-CZ" sz="1200" b="1" dirty="0">
                    <a:latin typeface="+mj-lt"/>
                  </a:rPr>
                  <a:t>I:</a:t>
                </a:r>
                <a:r>
                  <a:rPr lang="cs-CZ" sz="1200" dirty="0">
                    <a:latin typeface="+mj-lt"/>
                  </a:rPr>
                  <a:t> rizikový vývoj s významnými zdravotními dopady, </a:t>
                </a:r>
                <a:r>
                  <a:rPr lang="cs-CZ" sz="1200" u="sng" dirty="0">
                    <a:latin typeface="+mj-lt"/>
                  </a:rPr>
                  <a:t>významný</a:t>
                </a:r>
                <a:r>
                  <a:rPr lang="cs-CZ" sz="1200" dirty="0">
                    <a:latin typeface="+mj-lt"/>
                  </a:rPr>
                  <a:t> další růst</a:t>
                </a: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I:</a:t>
                </a:r>
                <a:r>
                  <a:rPr lang="cs-CZ" sz="1200" dirty="0"/>
                  <a:t> rizikový vývoj s významnými zdravotními dopady, </a:t>
                </a:r>
                <a:r>
                  <a:rPr lang="cs-CZ" sz="1200" u="sng" dirty="0"/>
                  <a:t>střední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</a:t>
                </a:r>
                <a:r>
                  <a:rPr lang="cs-CZ" sz="1200" dirty="0"/>
                  <a:t>: rizikový vývoj s významnými zdravotními dopady, </a:t>
                </a:r>
                <a:r>
                  <a:rPr lang="cs-CZ" sz="1200" u="sng" dirty="0"/>
                  <a:t>nízký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86A65F05-F432-4D14-97CF-BB706E79DBF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8003387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254230" y="3518139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22286506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19" name="Tabulka 6">
            <a:extLst>
              <a:ext uri="{FF2B5EF4-FFF2-40B4-BE49-F238E27FC236}">
                <a16:creationId xmlns:a16="http://schemas.microsoft.com/office/drawing/2014/main" id="{BF537160-2851-4610-A4BC-4FE0CA0C84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8472631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4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4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28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7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 41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 7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3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1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63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 357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9">
            <a:extLst>
              <a:ext uri="{FF2B5EF4-FFF2-40B4-BE49-F238E27FC236}">
                <a16:creationId xmlns:a16="http://schemas.microsoft.com/office/drawing/2014/main" id="{349293E9-83D6-49EC-9795-AEB172023BF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69265" y="2981877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C293EADF-223A-4430-B0E3-68F98A5927B6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73933" y="3835663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C933CB53-E325-4368-BE94-2A2D39E1514F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BF0E1E59-6C1E-4EBD-9921-76B034B3210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7" name="Přímá spojnice 36">
                <a:extLst>
                  <a:ext uri="{FF2B5EF4-FFF2-40B4-BE49-F238E27FC236}">
                    <a16:creationId xmlns:a16="http://schemas.microsoft.com/office/drawing/2014/main" id="{AB8766E2-1FAE-43FE-B8EC-23D3FFECD0B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5CBEFA51-89D7-4EE6-BEB8-9CE96D1B4045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05B83F1C-47FE-452E-84A5-986A5B0FA938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</a:t>
                </a:r>
                <a:r>
                  <a:rPr kumimoji="0" lang="cs-CZ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zikový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566028BB-C1B9-4B13-91E8-E712E3090DB3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8285975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řed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263795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AB6D7690-E4EA-49C0-BEF5-437D91CC0FB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DAA041D6-6D68-43AE-959D-827938D8875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677656"/>
            <a:chOff x="9993159" y="3767843"/>
            <a:chExt cx="2148963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637582A0-7F5B-47B2-AE6E-A8578B097590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148963" cy="2677656"/>
              <a:chOff x="10258697" y="3526984"/>
              <a:chExt cx="2148963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AA035177-8B91-4357-8A91-A09A70F0999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3279DC80-27A9-4D85-8F6B-7645AAF7BFF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69556930-A1C4-4EE1-80C2-52DD91EEBD54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8" name="TextovéPole 28">
                <a:extLst>
                  <a:ext uri="{FF2B5EF4-FFF2-40B4-BE49-F238E27FC236}">
                    <a16:creationId xmlns:a16="http://schemas.microsoft.com/office/drawing/2014/main" id="{10051A53-97B6-4CE5-96E4-377B80D8B8D4}"/>
                  </a:ext>
                </a:extLst>
              </p:cNvPr>
              <p:cNvSpPr txBox="1"/>
              <p:nvPr/>
            </p:nvSpPr>
            <p:spPr>
              <a:xfrm>
                <a:off x="10630649" y="3526984"/>
                <a:ext cx="1777011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kumimoji="0" lang="cs-CZ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b="1" kern="0" dirty="0">
                    <a:latin typeface="+mj-lt"/>
                  </a:rPr>
                  <a:t>Sc</a:t>
                </a:r>
                <a:r>
                  <a:rPr lang="cs-CZ" sz="1200" b="1" dirty="0">
                    <a:latin typeface="+mj-lt"/>
                  </a:rPr>
                  <a:t>énář I</a:t>
                </a:r>
                <a:r>
                  <a:rPr lang="en-US" sz="1200" b="1" dirty="0">
                    <a:latin typeface="+mj-lt"/>
                  </a:rPr>
                  <a:t>I</a:t>
                </a:r>
                <a:r>
                  <a:rPr lang="cs-CZ" sz="1200" b="1" dirty="0">
                    <a:latin typeface="+mj-lt"/>
                  </a:rPr>
                  <a:t>I:</a:t>
                </a:r>
                <a:r>
                  <a:rPr lang="cs-CZ" sz="1200" dirty="0">
                    <a:latin typeface="+mj-lt"/>
                  </a:rPr>
                  <a:t> rizikový vývoj s významnými zdravotními dopady, </a:t>
                </a:r>
                <a:r>
                  <a:rPr lang="cs-CZ" sz="1200" u="sng" dirty="0">
                    <a:latin typeface="+mj-lt"/>
                  </a:rPr>
                  <a:t>významný</a:t>
                </a:r>
                <a:r>
                  <a:rPr lang="cs-CZ" sz="1200" dirty="0">
                    <a:latin typeface="+mj-lt"/>
                  </a:rPr>
                  <a:t> další růst</a:t>
                </a: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I:</a:t>
                </a:r>
                <a:r>
                  <a:rPr lang="cs-CZ" sz="1200" dirty="0"/>
                  <a:t> rizikový vývoj s významnými zdravotními dopady, </a:t>
                </a:r>
                <a:r>
                  <a:rPr lang="cs-CZ" sz="1200" u="sng" dirty="0"/>
                  <a:t>střední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</a:t>
                </a:r>
                <a:r>
                  <a:rPr lang="cs-CZ" sz="1200" dirty="0"/>
                  <a:t>: rizikový vývoj s významnými zdravotními dopady, </a:t>
                </a:r>
                <a:r>
                  <a:rPr lang="cs-CZ" sz="1200" u="sng" dirty="0"/>
                  <a:t>nízký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E9B143B5-AAAB-465E-81DF-59E778EC6348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5462139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73692703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1C3461E4-7021-4CD9-83E7-4DEA316A244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1670275B-4939-4F1C-B0D8-000C1E47FC4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677656"/>
            <a:chOff x="9993159" y="3767843"/>
            <a:chExt cx="2148963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30B25D51-1E7D-4103-A586-488C3D77E507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148963" cy="2677656"/>
              <a:chOff x="10258697" y="3526984"/>
              <a:chExt cx="2148963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239172A6-97AA-4F83-88EB-AB4ADBA6243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F83BA341-ABB1-49F6-B3A5-169FF8D79C5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DBBC71A4-5D32-4079-BDBB-12A5073DE0AD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8" name="TextovéPole 28">
                <a:extLst>
                  <a:ext uri="{FF2B5EF4-FFF2-40B4-BE49-F238E27FC236}">
                    <a16:creationId xmlns:a16="http://schemas.microsoft.com/office/drawing/2014/main" id="{9BF80965-4B32-466A-8F5E-3F7AD70931AC}"/>
                  </a:ext>
                </a:extLst>
              </p:cNvPr>
              <p:cNvSpPr txBox="1"/>
              <p:nvPr/>
            </p:nvSpPr>
            <p:spPr>
              <a:xfrm>
                <a:off x="10630649" y="3526984"/>
                <a:ext cx="1777011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kumimoji="0" lang="cs-CZ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b="1" kern="0" dirty="0">
                    <a:latin typeface="+mj-lt"/>
                  </a:rPr>
                  <a:t>Sc</a:t>
                </a:r>
                <a:r>
                  <a:rPr lang="cs-CZ" sz="1200" b="1" dirty="0">
                    <a:latin typeface="+mj-lt"/>
                  </a:rPr>
                  <a:t>énář I</a:t>
                </a:r>
                <a:r>
                  <a:rPr lang="en-US" sz="1200" b="1" dirty="0">
                    <a:latin typeface="+mj-lt"/>
                  </a:rPr>
                  <a:t>I</a:t>
                </a:r>
                <a:r>
                  <a:rPr lang="cs-CZ" sz="1200" b="1" dirty="0">
                    <a:latin typeface="+mj-lt"/>
                  </a:rPr>
                  <a:t>I:</a:t>
                </a:r>
                <a:r>
                  <a:rPr lang="cs-CZ" sz="1200" dirty="0">
                    <a:latin typeface="+mj-lt"/>
                  </a:rPr>
                  <a:t> rizikový vývoj s významnými zdravotními dopady, </a:t>
                </a:r>
                <a:r>
                  <a:rPr lang="cs-CZ" sz="1200" u="sng" dirty="0">
                    <a:latin typeface="+mj-lt"/>
                  </a:rPr>
                  <a:t>významný</a:t>
                </a:r>
                <a:r>
                  <a:rPr lang="cs-CZ" sz="1200" dirty="0">
                    <a:latin typeface="+mj-lt"/>
                  </a:rPr>
                  <a:t> další růst</a:t>
                </a: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I:</a:t>
                </a:r>
                <a:r>
                  <a:rPr lang="cs-CZ" sz="1200" dirty="0"/>
                  <a:t> rizikový vývoj s významnými zdravotními dopady, </a:t>
                </a:r>
                <a:r>
                  <a:rPr lang="cs-CZ" sz="1200" u="sng" dirty="0"/>
                  <a:t>střední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</a:t>
                </a:r>
                <a:r>
                  <a:rPr lang="cs-CZ" sz="1200" dirty="0"/>
                  <a:t>: rizikový vývoj s významnými zdravotními dopady, </a:t>
                </a:r>
                <a:r>
                  <a:rPr lang="cs-CZ" sz="1200" u="sng" dirty="0"/>
                  <a:t>nízký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CF3CDFDC-DAFA-4B16-B86C-43A249F2D5B3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7184123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zeň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94048246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BD5BA387-6709-412A-909E-A18B37A9A62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E1ED8CF7-E816-45D5-B116-5CDB1F8EBAC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677656"/>
            <a:chOff x="9993159" y="3767843"/>
            <a:chExt cx="2148963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58CB88F1-5F50-4FDC-AC0B-B05CE5BD006A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148963" cy="2677656"/>
              <a:chOff x="10258697" y="3526984"/>
              <a:chExt cx="2148963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D30B7AE7-5262-4E9B-B0D3-BF9C3E1DA70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67A19B6D-8086-41C8-BB09-AA04D97F1A8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7E3E491A-0410-4900-A4F1-5475A29A630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8" name="TextovéPole 28">
                <a:extLst>
                  <a:ext uri="{FF2B5EF4-FFF2-40B4-BE49-F238E27FC236}">
                    <a16:creationId xmlns:a16="http://schemas.microsoft.com/office/drawing/2014/main" id="{A2A7CB04-135D-498C-A4CE-F43796E791C2}"/>
                  </a:ext>
                </a:extLst>
              </p:cNvPr>
              <p:cNvSpPr txBox="1"/>
              <p:nvPr/>
            </p:nvSpPr>
            <p:spPr>
              <a:xfrm>
                <a:off x="10630649" y="3526984"/>
                <a:ext cx="1777011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kumimoji="0" lang="cs-CZ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b="1" kern="0" dirty="0">
                    <a:latin typeface="+mj-lt"/>
                  </a:rPr>
                  <a:t>Sc</a:t>
                </a:r>
                <a:r>
                  <a:rPr lang="cs-CZ" sz="1200" b="1" dirty="0">
                    <a:latin typeface="+mj-lt"/>
                  </a:rPr>
                  <a:t>énář I</a:t>
                </a:r>
                <a:r>
                  <a:rPr lang="en-US" sz="1200" b="1" dirty="0">
                    <a:latin typeface="+mj-lt"/>
                  </a:rPr>
                  <a:t>I</a:t>
                </a:r>
                <a:r>
                  <a:rPr lang="cs-CZ" sz="1200" b="1" dirty="0">
                    <a:latin typeface="+mj-lt"/>
                  </a:rPr>
                  <a:t>I:</a:t>
                </a:r>
                <a:r>
                  <a:rPr lang="cs-CZ" sz="1200" dirty="0">
                    <a:latin typeface="+mj-lt"/>
                  </a:rPr>
                  <a:t> rizikový vývoj s významnými zdravotními dopady, </a:t>
                </a:r>
                <a:r>
                  <a:rPr lang="cs-CZ" sz="1200" u="sng" dirty="0">
                    <a:latin typeface="+mj-lt"/>
                  </a:rPr>
                  <a:t>významný</a:t>
                </a:r>
                <a:r>
                  <a:rPr lang="cs-CZ" sz="1200" dirty="0">
                    <a:latin typeface="+mj-lt"/>
                  </a:rPr>
                  <a:t> další růst</a:t>
                </a: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I:</a:t>
                </a:r>
                <a:r>
                  <a:rPr lang="cs-CZ" sz="1200" dirty="0"/>
                  <a:t> rizikový vývoj s významnými zdravotními dopady, </a:t>
                </a:r>
                <a:r>
                  <a:rPr lang="cs-CZ" sz="1200" u="sng" dirty="0"/>
                  <a:t>střední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</a:t>
                </a:r>
                <a:r>
                  <a:rPr lang="cs-CZ" sz="1200" dirty="0"/>
                  <a:t>: rizikový vývoj s významnými zdravotními dopady, </a:t>
                </a:r>
                <a:r>
                  <a:rPr lang="cs-CZ" sz="1200" u="sng" dirty="0"/>
                  <a:t>nízký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E0EFDDB7-DA06-4FD0-A019-F0092E3C3019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52786837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rlovar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5039184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3A97A01B-E75E-4D89-95FB-D749676C17F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288FBFB3-F6FC-475E-8F3F-2EDFF1591E9E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677656"/>
            <a:chOff x="9993159" y="3767843"/>
            <a:chExt cx="2148963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113E878A-5B25-4A86-A8D5-2ED5A890009F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148963" cy="2677656"/>
              <a:chOff x="10258697" y="3526984"/>
              <a:chExt cx="2148963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0A4DCF35-C692-462C-A9E5-39057ED376A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7A3EDD4B-8748-426E-94F7-A2DE0F56121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EC019995-957D-4E4D-95AC-3DC5D5DB89D0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8" name="TextovéPole 28">
                <a:extLst>
                  <a:ext uri="{FF2B5EF4-FFF2-40B4-BE49-F238E27FC236}">
                    <a16:creationId xmlns:a16="http://schemas.microsoft.com/office/drawing/2014/main" id="{AC1C0279-EEF7-42F2-9055-AA374CD9B801}"/>
                  </a:ext>
                </a:extLst>
              </p:cNvPr>
              <p:cNvSpPr txBox="1"/>
              <p:nvPr/>
            </p:nvSpPr>
            <p:spPr>
              <a:xfrm>
                <a:off x="10630649" y="3526984"/>
                <a:ext cx="1777011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kumimoji="0" lang="cs-CZ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b="1" kern="0" dirty="0">
                    <a:latin typeface="+mj-lt"/>
                  </a:rPr>
                  <a:t>Sc</a:t>
                </a:r>
                <a:r>
                  <a:rPr lang="cs-CZ" sz="1200" b="1" dirty="0">
                    <a:latin typeface="+mj-lt"/>
                  </a:rPr>
                  <a:t>énář I</a:t>
                </a:r>
                <a:r>
                  <a:rPr lang="en-US" sz="1200" b="1" dirty="0">
                    <a:latin typeface="+mj-lt"/>
                  </a:rPr>
                  <a:t>I</a:t>
                </a:r>
                <a:r>
                  <a:rPr lang="cs-CZ" sz="1200" b="1" dirty="0">
                    <a:latin typeface="+mj-lt"/>
                  </a:rPr>
                  <a:t>I:</a:t>
                </a:r>
                <a:r>
                  <a:rPr lang="cs-CZ" sz="1200" dirty="0">
                    <a:latin typeface="+mj-lt"/>
                  </a:rPr>
                  <a:t> rizikový vývoj s významnými zdravotními dopady, </a:t>
                </a:r>
                <a:r>
                  <a:rPr lang="cs-CZ" sz="1200" u="sng" dirty="0">
                    <a:latin typeface="+mj-lt"/>
                  </a:rPr>
                  <a:t>významný</a:t>
                </a:r>
                <a:r>
                  <a:rPr lang="cs-CZ" sz="1200" dirty="0">
                    <a:latin typeface="+mj-lt"/>
                  </a:rPr>
                  <a:t> další růst</a:t>
                </a: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I:</a:t>
                </a:r>
                <a:r>
                  <a:rPr lang="cs-CZ" sz="1200" dirty="0"/>
                  <a:t> rizikový vývoj s významnými zdravotními dopady, </a:t>
                </a:r>
                <a:r>
                  <a:rPr lang="cs-CZ" sz="1200" u="sng" dirty="0"/>
                  <a:t>střední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</a:t>
                </a:r>
                <a:r>
                  <a:rPr lang="cs-CZ" sz="1200" dirty="0"/>
                  <a:t>: rizikový vývoj s významnými zdravotními dopady, </a:t>
                </a:r>
                <a:r>
                  <a:rPr lang="cs-CZ" sz="1200" u="sng" dirty="0"/>
                  <a:t>nízký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49A695E9-118B-41C8-90EC-DB95570D44D4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40530988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st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73957394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67FD27F1-46CA-4F82-BCFB-749ADE13F98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DFCB58B3-3A1B-427F-9EC4-7DA6B3ED105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677656"/>
            <a:chOff x="9993159" y="3767843"/>
            <a:chExt cx="2148963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84ADF9B9-3A30-4A5C-8810-957BE5DF4C75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148963" cy="2677656"/>
              <a:chOff x="10258697" y="3526984"/>
              <a:chExt cx="2148963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076B473B-AB6C-4EC9-9C4B-8A4A6385868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AB1D7F50-F847-4D71-96F7-477CC1A8643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B27F6A59-4B42-433C-98B2-326490F75990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8" name="TextovéPole 28">
                <a:extLst>
                  <a:ext uri="{FF2B5EF4-FFF2-40B4-BE49-F238E27FC236}">
                    <a16:creationId xmlns:a16="http://schemas.microsoft.com/office/drawing/2014/main" id="{7E6AC2B4-EA87-4FEE-B99B-248EBB296C3B}"/>
                  </a:ext>
                </a:extLst>
              </p:cNvPr>
              <p:cNvSpPr txBox="1"/>
              <p:nvPr/>
            </p:nvSpPr>
            <p:spPr>
              <a:xfrm>
                <a:off x="10630649" y="3526984"/>
                <a:ext cx="1777011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kumimoji="0" lang="cs-CZ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b="1" kern="0" dirty="0">
                    <a:latin typeface="+mj-lt"/>
                  </a:rPr>
                  <a:t>Sc</a:t>
                </a:r>
                <a:r>
                  <a:rPr lang="cs-CZ" sz="1200" b="1" dirty="0">
                    <a:latin typeface="+mj-lt"/>
                  </a:rPr>
                  <a:t>énář I</a:t>
                </a:r>
                <a:r>
                  <a:rPr lang="en-US" sz="1200" b="1" dirty="0">
                    <a:latin typeface="+mj-lt"/>
                  </a:rPr>
                  <a:t>I</a:t>
                </a:r>
                <a:r>
                  <a:rPr lang="cs-CZ" sz="1200" b="1" dirty="0">
                    <a:latin typeface="+mj-lt"/>
                  </a:rPr>
                  <a:t>I:</a:t>
                </a:r>
                <a:r>
                  <a:rPr lang="cs-CZ" sz="1200" dirty="0">
                    <a:latin typeface="+mj-lt"/>
                  </a:rPr>
                  <a:t> rizikový vývoj s významnými zdravotními dopady, </a:t>
                </a:r>
                <a:r>
                  <a:rPr lang="cs-CZ" sz="1200" u="sng" dirty="0">
                    <a:latin typeface="+mj-lt"/>
                  </a:rPr>
                  <a:t>významný</a:t>
                </a:r>
                <a:r>
                  <a:rPr lang="cs-CZ" sz="1200" dirty="0">
                    <a:latin typeface="+mj-lt"/>
                  </a:rPr>
                  <a:t> další růst</a:t>
                </a: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I:</a:t>
                </a:r>
                <a:r>
                  <a:rPr lang="cs-CZ" sz="1200" dirty="0"/>
                  <a:t> rizikový vývoj s významnými zdravotními dopady, </a:t>
                </a:r>
                <a:r>
                  <a:rPr lang="cs-CZ" sz="1200" u="sng" dirty="0"/>
                  <a:t>střední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</a:t>
                </a:r>
                <a:r>
                  <a:rPr lang="cs-CZ" sz="1200" dirty="0"/>
                  <a:t>: rizikový vývoj s významnými zdravotními dopady, </a:t>
                </a:r>
                <a:r>
                  <a:rPr lang="cs-CZ" sz="1200" u="sng" dirty="0"/>
                  <a:t>nízký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19AEF443-1412-4873-B7D2-6D6C5A6C0EF8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5497225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ber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42736264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7" name="TextBox 9">
            <a:extLst>
              <a:ext uri="{FF2B5EF4-FFF2-40B4-BE49-F238E27FC236}">
                <a16:creationId xmlns:a16="http://schemas.microsoft.com/office/drawing/2014/main" id="{9368236E-A2DC-47F2-B41C-50E55D956149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84339485-1D71-4F14-B94D-74E8DB9884A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677656"/>
            <a:chOff x="9993159" y="3767843"/>
            <a:chExt cx="2148963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A3BF9DF0-4DFC-4C46-8D7A-5F3BD18BF29D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148963" cy="2677656"/>
              <a:chOff x="10258697" y="3526984"/>
              <a:chExt cx="2148963" cy="2677656"/>
            </a:xfrm>
          </p:grpSpPr>
          <p:cxnSp>
            <p:nvCxnSpPr>
              <p:cNvPr id="26" name="Přímá spojnice 25">
                <a:extLst>
                  <a:ext uri="{FF2B5EF4-FFF2-40B4-BE49-F238E27FC236}">
                    <a16:creationId xmlns:a16="http://schemas.microsoft.com/office/drawing/2014/main" id="{9667A877-486B-4655-887E-C399254BEDB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4710A282-5D19-46FB-9E1D-FCF66D49EC5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3" name="Obdélník 32">
                <a:extLst>
                  <a:ext uri="{FF2B5EF4-FFF2-40B4-BE49-F238E27FC236}">
                    <a16:creationId xmlns:a16="http://schemas.microsoft.com/office/drawing/2014/main" id="{C008AF44-1640-40B7-A5D2-4052B8C5BDF6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" name="TextovéPole 28">
                <a:extLst>
                  <a:ext uri="{FF2B5EF4-FFF2-40B4-BE49-F238E27FC236}">
                    <a16:creationId xmlns:a16="http://schemas.microsoft.com/office/drawing/2014/main" id="{4FA9250C-C1A1-416F-BB20-A31F813D8DE2}"/>
                  </a:ext>
                </a:extLst>
              </p:cNvPr>
              <p:cNvSpPr txBox="1"/>
              <p:nvPr/>
            </p:nvSpPr>
            <p:spPr>
              <a:xfrm>
                <a:off x="10630649" y="3526984"/>
                <a:ext cx="1777011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kumimoji="0" lang="cs-CZ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b="1" kern="0" dirty="0">
                    <a:latin typeface="+mj-lt"/>
                  </a:rPr>
                  <a:t>Sc</a:t>
                </a:r>
                <a:r>
                  <a:rPr lang="cs-CZ" sz="1200" b="1" dirty="0">
                    <a:latin typeface="+mj-lt"/>
                  </a:rPr>
                  <a:t>énář I</a:t>
                </a:r>
                <a:r>
                  <a:rPr lang="en-US" sz="1200" b="1" dirty="0">
                    <a:latin typeface="+mj-lt"/>
                  </a:rPr>
                  <a:t>I</a:t>
                </a:r>
                <a:r>
                  <a:rPr lang="cs-CZ" sz="1200" b="1" dirty="0">
                    <a:latin typeface="+mj-lt"/>
                  </a:rPr>
                  <a:t>I:</a:t>
                </a:r>
                <a:r>
                  <a:rPr lang="cs-CZ" sz="1200" dirty="0">
                    <a:latin typeface="+mj-lt"/>
                  </a:rPr>
                  <a:t> rizikový vývoj s významnými zdravotními dopady, </a:t>
                </a:r>
                <a:r>
                  <a:rPr lang="cs-CZ" sz="1200" u="sng" dirty="0">
                    <a:latin typeface="+mj-lt"/>
                  </a:rPr>
                  <a:t>významný</a:t>
                </a:r>
                <a:r>
                  <a:rPr lang="cs-CZ" sz="1200" dirty="0">
                    <a:latin typeface="+mj-lt"/>
                  </a:rPr>
                  <a:t> další růst</a:t>
                </a: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I:</a:t>
                </a:r>
                <a:r>
                  <a:rPr lang="cs-CZ" sz="1200" dirty="0"/>
                  <a:t> rizikový vývoj s významnými zdravotními dopady, </a:t>
                </a:r>
                <a:r>
                  <a:rPr lang="cs-CZ" sz="1200" u="sng" dirty="0"/>
                  <a:t>střední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</a:t>
                </a:r>
                <a:r>
                  <a:rPr lang="cs-CZ" sz="1200" dirty="0"/>
                  <a:t>: rizikový vývoj s významnými zdravotními dopady, </a:t>
                </a:r>
                <a:r>
                  <a:rPr lang="cs-CZ" sz="1200" u="sng" dirty="0"/>
                  <a:t>nízký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83C6719-F62A-4F0B-8000-242630991C3B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00346765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álovéhrad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00119865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7" name="TextBox 9">
            <a:extLst>
              <a:ext uri="{FF2B5EF4-FFF2-40B4-BE49-F238E27FC236}">
                <a16:creationId xmlns:a16="http://schemas.microsoft.com/office/drawing/2014/main" id="{FB6BBAFF-C777-4968-BAB4-6E9DCFE58F1B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977D98D1-0A61-4651-A91D-DDC449BE945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677656"/>
            <a:chOff x="9993159" y="3767843"/>
            <a:chExt cx="2148963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8BE6939A-9AF6-4490-80AB-AF0B8E8658C2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148963" cy="2677656"/>
              <a:chOff x="10258697" y="3526984"/>
              <a:chExt cx="2148963" cy="2677656"/>
            </a:xfrm>
          </p:grpSpPr>
          <p:cxnSp>
            <p:nvCxnSpPr>
              <p:cNvPr id="26" name="Přímá spojnice 25">
                <a:extLst>
                  <a:ext uri="{FF2B5EF4-FFF2-40B4-BE49-F238E27FC236}">
                    <a16:creationId xmlns:a16="http://schemas.microsoft.com/office/drawing/2014/main" id="{4DCD654B-0974-4F10-8DA8-59A91C0AB73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42E4E1FB-6161-45BA-9FC0-C32A9833F8A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3" name="Obdélník 32">
                <a:extLst>
                  <a:ext uri="{FF2B5EF4-FFF2-40B4-BE49-F238E27FC236}">
                    <a16:creationId xmlns:a16="http://schemas.microsoft.com/office/drawing/2014/main" id="{C75DBC33-E9A6-458D-B927-C3481BCFA10B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" name="TextovéPole 28">
                <a:extLst>
                  <a:ext uri="{FF2B5EF4-FFF2-40B4-BE49-F238E27FC236}">
                    <a16:creationId xmlns:a16="http://schemas.microsoft.com/office/drawing/2014/main" id="{AD26A019-F233-4006-979C-337B0266C71E}"/>
                  </a:ext>
                </a:extLst>
              </p:cNvPr>
              <p:cNvSpPr txBox="1"/>
              <p:nvPr/>
            </p:nvSpPr>
            <p:spPr>
              <a:xfrm>
                <a:off x="10630649" y="3526984"/>
                <a:ext cx="1777011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kumimoji="0" lang="cs-CZ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b="1" kern="0" dirty="0">
                    <a:latin typeface="+mj-lt"/>
                  </a:rPr>
                  <a:t>Sc</a:t>
                </a:r>
                <a:r>
                  <a:rPr lang="cs-CZ" sz="1200" b="1" dirty="0">
                    <a:latin typeface="+mj-lt"/>
                  </a:rPr>
                  <a:t>énář I</a:t>
                </a:r>
                <a:r>
                  <a:rPr lang="en-US" sz="1200" b="1" dirty="0">
                    <a:latin typeface="+mj-lt"/>
                  </a:rPr>
                  <a:t>I</a:t>
                </a:r>
                <a:r>
                  <a:rPr lang="cs-CZ" sz="1200" b="1" dirty="0">
                    <a:latin typeface="+mj-lt"/>
                  </a:rPr>
                  <a:t>I:</a:t>
                </a:r>
                <a:r>
                  <a:rPr lang="cs-CZ" sz="1200" dirty="0">
                    <a:latin typeface="+mj-lt"/>
                  </a:rPr>
                  <a:t> rizikový vývoj s významnými zdravotními dopady, </a:t>
                </a:r>
                <a:r>
                  <a:rPr lang="cs-CZ" sz="1200" u="sng" dirty="0">
                    <a:latin typeface="+mj-lt"/>
                  </a:rPr>
                  <a:t>významný</a:t>
                </a:r>
                <a:r>
                  <a:rPr lang="cs-CZ" sz="1200" dirty="0">
                    <a:latin typeface="+mj-lt"/>
                  </a:rPr>
                  <a:t> další růst</a:t>
                </a: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I:</a:t>
                </a:r>
                <a:r>
                  <a:rPr lang="cs-CZ" sz="1200" dirty="0"/>
                  <a:t> rizikový vývoj s významnými zdravotními dopady, </a:t>
                </a:r>
                <a:r>
                  <a:rPr lang="cs-CZ" sz="1200" u="sng" dirty="0"/>
                  <a:t>střední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</a:t>
                </a:r>
                <a:r>
                  <a:rPr lang="cs-CZ" sz="1200" dirty="0"/>
                  <a:t>: rizikový vývoj s významnými zdravotními dopady, </a:t>
                </a:r>
                <a:r>
                  <a:rPr lang="cs-CZ" sz="1200" u="sng" dirty="0"/>
                  <a:t>nízký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35726FCB-8698-43F8-AA2C-A488AA8F9578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1974823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i="1" dirty="0">
                <a:solidFill>
                  <a:prstClr val="black"/>
                </a:solidFill>
                <a:latin typeface="Arial" panose="020B0604020202020204"/>
              </a:rPr>
              <a:t>Pardubický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7970140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7" name="TextBox 9">
            <a:extLst>
              <a:ext uri="{FF2B5EF4-FFF2-40B4-BE49-F238E27FC236}">
                <a16:creationId xmlns:a16="http://schemas.microsoft.com/office/drawing/2014/main" id="{549EFFD0-9F78-43C4-8617-C93E237AD17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470E880C-2876-4CFC-BB9F-BE1761126FE8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677656"/>
            <a:chOff x="9993159" y="3767843"/>
            <a:chExt cx="2148963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2FF549C5-C7CD-45FC-B27B-D752C612CEC2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148963" cy="2677656"/>
              <a:chOff x="10258697" y="3526984"/>
              <a:chExt cx="2148963" cy="2677656"/>
            </a:xfrm>
          </p:grpSpPr>
          <p:cxnSp>
            <p:nvCxnSpPr>
              <p:cNvPr id="26" name="Přímá spojnice 25">
                <a:extLst>
                  <a:ext uri="{FF2B5EF4-FFF2-40B4-BE49-F238E27FC236}">
                    <a16:creationId xmlns:a16="http://schemas.microsoft.com/office/drawing/2014/main" id="{ACF8D0C3-C638-4F88-AE7F-17B2CAA140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BA1D67C1-0856-42E8-A9C5-A326216A23E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3" name="Obdélník 32">
                <a:extLst>
                  <a:ext uri="{FF2B5EF4-FFF2-40B4-BE49-F238E27FC236}">
                    <a16:creationId xmlns:a16="http://schemas.microsoft.com/office/drawing/2014/main" id="{56A07CA4-74A8-4C51-B429-C68766FCA8C7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" name="TextovéPole 28">
                <a:extLst>
                  <a:ext uri="{FF2B5EF4-FFF2-40B4-BE49-F238E27FC236}">
                    <a16:creationId xmlns:a16="http://schemas.microsoft.com/office/drawing/2014/main" id="{1DC04FB9-BCF8-478A-99C5-624C3AC0F5A0}"/>
                  </a:ext>
                </a:extLst>
              </p:cNvPr>
              <p:cNvSpPr txBox="1"/>
              <p:nvPr/>
            </p:nvSpPr>
            <p:spPr>
              <a:xfrm>
                <a:off x="10630649" y="3526984"/>
                <a:ext cx="1777011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kumimoji="0" lang="cs-CZ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b="1" kern="0" dirty="0">
                    <a:latin typeface="+mj-lt"/>
                  </a:rPr>
                  <a:t>Sc</a:t>
                </a:r>
                <a:r>
                  <a:rPr lang="cs-CZ" sz="1200" b="1" dirty="0">
                    <a:latin typeface="+mj-lt"/>
                  </a:rPr>
                  <a:t>énář I</a:t>
                </a:r>
                <a:r>
                  <a:rPr lang="en-US" sz="1200" b="1" dirty="0">
                    <a:latin typeface="+mj-lt"/>
                  </a:rPr>
                  <a:t>I</a:t>
                </a:r>
                <a:r>
                  <a:rPr lang="cs-CZ" sz="1200" b="1" dirty="0">
                    <a:latin typeface="+mj-lt"/>
                  </a:rPr>
                  <a:t>I:</a:t>
                </a:r>
                <a:r>
                  <a:rPr lang="cs-CZ" sz="1200" dirty="0">
                    <a:latin typeface="+mj-lt"/>
                  </a:rPr>
                  <a:t> rizikový vývoj s významnými zdravotními dopady, </a:t>
                </a:r>
                <a:r>
                  <a:rPr lang="cs-CZ" sz="1200" u="sng" dirty="0">
                    <a:latin typeface="+mj-lt"/>
                  </a:rPr>
                  <a:t>významný</a:t>
                </a:r>
                <a:r>
                  <a:rPr lang="cs-CZ" sz="1200" dirty="0">
                    <a:latin typeface="+mj-lt"/>
                  </a:rPr>
                  <a:t> další růst</a:t>
                </a: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I:</a:t>
                </a:r>
                <a:r>
                  <a:rPr lang="cs-CZ" sz="1200" dirty="0"/>
                  <a:t> rizikový vývoj s významnými zdravotními dopady, </a:t>
                </a:r>
                <a:r>
                  <a:rPr lang="cs-CZ" sz="1200" u="sng" dirty="0"/>
                  <a:t>střední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</a:t>
                </a:r>
                <a:r>
                  <a:rPr lang="cs-CZ" sz="1200" dirty="0"/>
                  <a:t>: rizikový vývoj s významnými zdravotními dopady, </a:t>
                </a:r>
                <a:r>
                  <a:rPr lang="cs-CZ" sz="1200" u="sng" dirty="0"/>
                  <a:t>nízký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238A3857-9C05-410C-A4C2-E3015C4372CB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53222131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i="1" dirty="0">
                <a:solidFill>
                  <a:prstClr val="black"/>
                </a:solidFill>
                <a:latin typeface="Arial" panose="020B0604020202020204"/>
              </a:rPr>
              <a:t>Kraj Vysočina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77465950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7" name="TextBox 9">
            <a:extLst>
              <a:ext uri="{FF2B5EF4-FFF2-40B4-BE49-F238E27FC236}">
                <a16:creationId xmlns:a16="http://schemas.microsoft.com/office/drawing/2014/main" id="{5D11D6D4-7FBB-42A9-8A14-E81C9C27A43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152C4288-D176-415B-A3F4-A2AE54D1386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677656"/>
            <a:chOff x="9993159" y="3767843"/>
            <a:chExt cx="2148963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D125969E-91C2-4137-B172-C9146BD4D30C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148963" cy="2677656"/>
              <a:chOff x="10258697" y="3526984"/>
              <a:chExt cx="2148963" cy="2677656"/>
            </a:xfrm>
          </p:grpSpPr>
          <p:cxnSp>
            <p:nvCxnSpPr>
              <p:cNvPr id="26" name="Přímá spojnice 25">
                <a:extLst>
                  <a:ext uri="{FF2B5EF4-FFF2-40B4-BE49-F238E27FC236}">
                    <a16:creationId xmlns:a16="http://schemas.microsoft.com/office/drawing/2014/main" id="{D195BE67-8E9B-4668-BC95-BAFD7283EC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6C02D4D9-7514-4651-911D-BE3C9FDDC9B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3" name="Obdélník 32">
                <a:extLst>
                  <a:ext uri="{FF2B5EF4-FFF2-40B4-BE49-F238E27FC236}">
                    <a16:creationId xmlns:a16="http://schemas.microsoft.com/office/drawing/2014/main" id="{E3950D1B-A35F-479F-9B02-47979732FA61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" name="TextovéPole 28">
                <a:extLst>
                  <a:ext uri="{FF2B5EF4-FFF2-40B4-BE49-F238E27FC236}">
                    <a16:creationId xmlns:a16="http://schemas.microsoft.com/office/drawing/2014/main" id="{3BFDE3EF-75B5-4DC5-AB7E-306AA4967728}"/>
                  </a:ext>
                </a:extLst>
              </p:cNvPr>
              <p:cNvSpPr txBox="1"/>
              <p:nvPr/>
            </p:nvSpPr>
            <p:spPr>
              <a:xfrm>
                <a:off x="10630649" y="3526984"/>
                <a:ext cx="1777011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kumimoji="0" lang="cs-CZ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b="1" kern="0" dirty="0">
                    <a:latin typeface="+mj-lt"/>
                  </a:rPr>
                  <a:t>Sc</a:t>
                </a:r>
                <a:r>
                  <a:rPr lang="cs-CZ" sz="1200" b="1" dirty="0">
                    <a:latin typeface="+mj-lt"/>
                  </a:rPr>
                  <a:t>énář I</a:t>
                </a:r>
                <a:r>
                  <a:rPr lang="en-US" sz="1200" b="1" dirty="0">
                    <a:latin typeface="+mj-lt"/>
                  </a:rPr>
                  <a:t>I</a:t>
                </a:r>
                <a:r>
                  <a:rPr lang="cs-CZ" sz="1200" b="1" dirty="0">
                    <a:latin typeface="+mj-lt"/>
                  </a:rPr>
                  <a:t>I:</a:t>
                </a:r>
                <a:r>
                  <a:rPr lang="cs-CZ" sz="1200" dirty="0">
                    <a:latin typeface="+mj-lt"/>
                  </a:rPr>
                  <a:t> rizikový vývoj s významnými zdravotními dopady, </a:t>
                </a:r>
                <a:r>
                  <a:rPr lang="cs-CZ" sz="1200" u="sng" dirty="0">
                    <a:latin typeface="+mj-lt"/>
                  </a:rPr>
                  <a:t>významný</a:t>
                </a:r>
                <a:r>
                  <a:rPr lang="cs-CZ" sz="1200" dirty="0">
                    <a:latin typeface="+mj-lt"/>
                  </a:rPr>
                  <a:t> další růst</a:t>
                </a: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I:</a:t>
                </a:r>
                <a:r>
                  <a:rPr lang="cs-CZ" sz="1200" dirty="0"/>
                  <a:t> rizikový vývoj s významnými zdravotními dopady, </a:t>
                </a:r>
                <a:r>
                  <a:rPr lang="cs-CZ" sz="1200" u="sng" dirty="0"/>
                  <a:t>střední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</a:t>
                </a:r>
                <a:r>
                  <a:rPr lang="cs-CZ" sz="1200" dirty="0"/>
                  <a:t>: rizikový vývoj s významnými zdravotními dopady, </a:t>
                </a:r>
                <a:r>
                  <a:rPr lang="cs-CZ" sz="1200" u="sng" dirty="0"/>
                  <a:t>nízký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867924F7-C519-479E-AD6E-96F91B002574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35585427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morav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60714231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7" name="TextBox 9">
            <a:extLst>
              <a:ext uri="{FF2B5EF4-FFF2-40B4-BE49-F238E27FC236}">
                <a16:creationId xmlns:a16="http://schemas.microsoft.com/office/drawing/2014/main" id="{7CB05294-7E13-4FA8-83D6-2BF317F5EB2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20CB6ED2-0368-447F-9DF2-B3092F29838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677656"/>
            <a:chOff x="9993159" y="3767843"/>
            <a:chExt cx="2148963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26782ACB-5217-441B-8DFE-B91542D3AC6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148963" cy="2677656"/>
              <a:chOff x="10258697" y="3526984"/>
              <a:chExt cx="2148963" cy="2677656"/>
            </a:xfrm>
          </p:grpSpPr>
          <p:cxnSp>
            <p:nvCxnSpPr>
              <p:cNvPr id="26" name="Přímá spojnice 25">
                <a:extLst>
                  <a:ext uri="{FF2B5EF4-FFF2-40B4-BE49-F238E27FC236}">
                    <a16:creationId xmlns:a16="http://schemas.microsoft.com/office/drawing/2014/main" id="{27C5D03E-80DB-4FFC-8E65-AE20DAB8BC6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85D612F2-CA7F-434D-8E5E-5E00F721F16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3" name="Obdélník 32">
                <a:extLst>
                  <a:ext uri="{FF2B5EF4-FFF2-40B4-BE49-F238E27FC236}">
                    <a16:creationId xmlns:a16="http://schemas.microsoft.com/office/drawing/2014/main" id="{69DA9AA3-6BB3-4AA4-8003-E7ECB0B778B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" name="TextovéPole 28">
                <a:extLst>
                  <a:ext uri="{FF2B5EF4-FFF2-40B4-BE49-F238E27FC236}">
                    <a16:creationId xmlns:a16="http://schemas.microsoft.com/office/drawing/2014/main" id="{9C47451F-0CE0-494A-96A6-D173B65FFD7E}"/>
                  </a:ext>
                </a:extLst>
              </p:cNvPr>
              <p:cNvSpPr txBox="1"/>
              <p:nvPr/>
            </p:nvSpPr>
            <p:spPr>
              <a:xfrm>
                <a:off x="10630649" y="3526984"/>
                <a:ext cx="1777011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kumimoji="0" lang="cs-CZ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b="1" kern="0" dirty="0">
                    <a:latin typeface="+mj-lt"/>
                  </a:rPr>
                  <a:t>Sc</a:t>
                </a:r>
                <a:r>
                  <a:rPr lang="cs-CZ" sz="1200" b="1" dirty="0">
                    <a:latin typeface="+mj-lt"/>
                  </a:rPr>
                  <a:t>énář I</a:t>
                </a:r>
                <a:r>
                  <a:rPr lang="en-US" sz="1200" b="1" dirty="0">
                    <a:latin typeface="+mj-lt"/>
                  </a:rPr>
                  <a:t>I</a:t>
                </a:r>
                <a:r>
                  <a:rPr lang="cs-CZ" sz="1200" b="1" dirty="0">
                    <a:latin typeface="+mj-lt"/>
                  </a:rPr>
                  <a:t>I:</a:t>
                </a:r>
                <a:r>
                  <a:rPr lang="cs-CZ" sz="1200" dirty="0">
                    <a:latin typeface="+mj-lt"/>
                  </a:rPr>
                  <a:t> rizikový vývoj s významnými zdravotními dopady, </a:t>
                </a:r>
                <a:r>
                  <a:rPr lang="cs-CZ" sz="1200" u="sng" dirty="0">
                    <a:latin typeface="+mj-lt"/>
                  </a:rPr>
                  <a:t>významný</a:t>
                </a:r>
                <a:r>
                  <a:rPr lang="cs-CZ" sz="1200" dirty="0">
                    <a:latin typeface="+mj-lt"/>
                  </a:rPr>
                  <a:t> další růst</a:t>
                </a: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I:</a:t>
                </a:r>
                <a:r>
                  <a:rPr lang="cs-CZ" sz="1200" dirty="0"/>
                  <a:t> rizikový vývoj s významnými zdravotními dopady, </a:t>
                </a:r>
                <a:r>
                  <a:rPr lang="cs-CZ" sz="1200" u="sng" dirty="0"/>
                  <a:t>střední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</a:t>
                </a:r>
                <a:r>
                  <a:rPr lang="cs-CZ" sz="1200" dirty="0"/>
                  <a:t>: rizikový vývoj s významnými zdravotními dopady, </a:t>
                </a:r>
                <a:r>
                  <a:rPr lang="cs-CZ" sz="1200" u="sng" dirty="0"/>
                  <a:t>nízký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CADBDFB3-DF42-4498-BB41-EC5632E9A56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3176974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Hl. m. Prah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254230" y="3518139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8015715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14FBB82F-A8C3-4733-BE82-BAF5CB17FE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461348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8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5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7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8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5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FC1691CC-F303-4AE6-A01A-D0CAD24E5AF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69265" y="2981877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CD33A80C-1BDA-499C-938F-768B98DFAB3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73933" y="3835663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D1F14C4F-FF9B-498A-820E-E6FA65946BBE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7" name="Přímá spojnice 36">
                <a:extLst>
                  <a:ext uri="{FF2B5EF4-FFF2-40B4-BE49-F238E27FC236}">
                    <a16:creationId xmlns:a16="http://schemas.microsoft.com/office/drawing/2014/main" id="{E5A5DCEA-4E2D-4C0F-A858-52202B19668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A17568FE-C622-4B95-B622-A8C266D01B5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24762AAF-D02F-4D3D-9307-F6CBC5ECC99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5C602A32-C185-4CA2-9344-39202E5E9FB1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</a:t>
                </a:r>
                <a:r>
                  <a:rPr kumimoji="0" lang="cs-CZ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zikový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6DD4D0FC-F0D5-4028-854A-6286B2846D1D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13940557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lomou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2697874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7" name="TextBox 9">
            <a:extLst>
              <a:ext uri="{FF2B5EF4-FFF2-40B4-BE49-F238E27FC236}">
                <a16:creationId xmlns:a16="http://schemas.microsoft.com/office/drawing/2014/main" id="{880FF9F1-7E59-41DA-BFF1-E6DF48245869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E32F3AA1-7C8B-4209-9300-22F8FEE3513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677656"/>
            <a:chOff x="9993159" y="3767843"/>
            <a:chExt cx="2148963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F9AFF707-DEDF-49F3-A49A-94CBA49E1997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148963" cy="2677656"/>
              <a:chOff x="10258697" y="3526984"/>
              <a:chExt cx="2148963" cy="2677656"/>
            </a:xfrm>
          </p:grpSpPr>
          <p:cxnSp>
            <p:nvCxnSpPr>
              <p:cNvPr id="26" name="Přímá spojnice 25">
                <a:extLst>
                  <a:ext uri="{FF2B5EF4-FFF2-40B4-BE49-F238E27FC236}">
                    <a16:creationId xmlns:a16="http://schemas.microsoft.com/office/drawing/2014/main" id="{F4CB5BF7-B91E-4315-A43B-A925BD1683C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099BAA74-1E12-4E7E-9E80-FBE2D4A1534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3" name="Obdélník 32">
                <a:extLst>
                  <a:ext uri="{FF2B5EF4-FFF2-40B4-BE49-F238E27FC236}">
                    <a16:creationId xmlns:a16="http://schemas.microsoft.com/office/drawing/2014/main" id="{82E78062-E072-4D15-82D8-2C57BAAC6C9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" name="TextovéPole 28">
                <a:extLst>
                  <a:ext uri="{FF2B5EF4-FFF2-40B4-BE49-F238E27FC236}">
                    <a16:creationId xmlns:a16="http://schemas.microsoft.com/office/drawing/2014/main" id="{CAA6BB24-37C1-4B5E-B6F7-FDAAAB874F92}"/>
                  </a:ext>
                </a:extLst>
              </p:cNvPr>
              <p:cNvSpPr txBox="1"/>
              <p:nvPr/>
            </p:nvSpPr>
            <p:spPr>
              <a:xfrm>
                <a:off x="10630649" y="3526984"/>
                <a:ext cx="1777011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kumimoji="0" lang="cs-CZ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b="1" kern="0" dirty="0">
                    <a:latin typeface="+mj-lt"/>
                  </a:rPr>
                  <a:t>Sc</a:t>
                </a:r>
                <a:r>
                  <a:rPr lang="cs-CZ" sz="1200" b="1" dirty="0">
                    <a:latin typeface="+mj-lt"/>
                  </a:rPr>
                  <a:t>énář I</a:t>
                </a:r>
                <a:r>
                  <a:rPr lang="en-US" sz="1200" b="1" dirty="0">
                    <a:latin typeface="+mj-lt"/>
                  </a:rPr>
                  <a:t>I</a:t>
                </a:r>
                <a:r>
                  <a:rPr lang="cs-CZ" sz="1200" b="1" dirty="0">
                    <a:latin typeface="+mj-lt"/>
                  </a:rPr>
                  <a:t>I:</a:t>
                </a:r>
                <a:r>
                  <a:rPr lang="cs-CZ" sz="1200" dirty="0">
                    <a:latin typeface="+mj-lt"/>
                  </a:rPr>
                  <a:t> rizikový vývoj s významnými zdravotními dopady, </a:t>
                </a:r>
                <a:r>
                  <a:rPr lang="cs-CZ" sz="1200" u="sng" dirty="0">
                    <a:latin typeface="+mj-lt"/>
                  </a:rPr>
                  <a:t>významný</a:t>
                </a:r>
                <a:r>
                  <a:rPr lang="cs-CZ" sz="1200" dirty="0">
                    <a:latin typeface="+mj-lt"/>
                  </a:rPr>
                  <a:t> další růst</a:t>
                </a: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I:</a:t>
                </a:r>
                <a:r>
                  <a:rPr lang="cs-CZ" sz="1200" dirty="0"/>
                  <a:t> rizikový vývoj s významnými zdravotními dopady, </a:t>
                </a:r>
                <a:r>
                  <a:rPr lang="cs-CZ" sz="1200" u="sng" dirty="0"/>
                  <a:t>střední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</a:t>
                </a:r>
                <a:r>
                  <a:rPr lang="cs-CZ" sz="1200" dirty="0"/>
                  <a:t>: rizikový vývoj s významnými zdravotními dopady, </a:t>
                </a:r>
                <a:r>
                  <a:rPr lang="cs-CZ" sz="1200" u="sng" dirty="0"/>
                  <a:t>nízký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A44EF131-FFA0-4E44-B93E-E1995DC549BF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73834481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22191071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7" name="TextBox 9">
            <a:extLst>
              <a:ext uri="{FF2B5EF4-FFF2-40B4-BE49-F238E27FC236}">
                <a16:creationId xmlns:a16="http://schemas.microsoft.com/office/drawing/2014/main" id="{9C3F87DD-595A-4F07-98FD-0668C628DB3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1C33F18A-772C-4949-9F17-E773AF97427F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677656"/>
            <a:chOff x="9993159" y="3767843"/>
            <a:chExt cx="2148963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6A338935-1869-4281-94AA-E88EA918065E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148963" cy="2677656"/>
              <a:chOff x="10258697" y="3526984"/>
              <a:chExt cx="2148963" cy="2677656"/>
            </a:xfrm>
          </p:grpSpPr>
          <p:cxnSp>
            <p:nvCxnSpPr>
              <p:cNvPr id="26" name="Přímá spojnice 25">
                <a:extLst>
                  <a:ext uri="{FF2B5EF4-FFF2-40B4-BE49-F238E27FC236}">
                    <a16:creationId xmlns:a16="http://schemas.microsoft.com/office/drawing/2014/main" id="{DD610F81-35D3-4A74-863B-EAF88DE7A4F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0FAF3C52-22E6-4B77-A4C7-8D82E02C99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3" name="Obdélník 32">
                <a:extLst>
                  <a:ext uri="{FF2B5EF4-FFF2-40B4-BE49-F238E27FC236}">
                    <a16:creationId xmlns:a16="http://schemas.microsoft.com/office/drawing/2014/main" id="{72CE3E9A-BBB7-45B6-B27A-56A58A40A5F4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" name="TextovéPole 28">
                <a:extLst>
                  <a:ext uri="{FF2B5EF4-FFF2-40B4-BE49-F238E27FC236}">
                    <a16:creationId xmlns:a16="http://schemas.microsoft.com/office/drawing/2014/main" id="{D0DD8ECD-FEC1-4214-B99D-34B18C53EFBD}"/>
                  </a:ext>
                </a:extLst>
              </p:cNvPr>
              <p:cNvSpPr txBox="1"/>
              <p:nvPr/>
            </p:nvSpPr>
            <p:spPr>
              <a:xfrm>
                <a:off x="10630649" y="3526984"/>
                <a:ext cx="1777011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kumimoji="0" lang="cs-CZ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b="1" kern="0" dirty="0">
                    <a:latin typeface="+mj-lt"/>
                  </a:rPr>
                  <a:t>Sc</a:t>
                </a:r>
                <a:r>
                  <a:rPr lang="cs-CZ" sz="1200" b="1" dirty="0">
                    <a:latin typeface="+mj-lt"/>
                  </a:rPr>
                  <a:t>énář I</a:t>
                </a:r>
                <a:r>
                  <a:rPr lang="en-US" sz="1200" b="1" dirty="0">
                    <a:latin typeface="+mj-lt"/>
                  </a:rPr>
                  <a:t>I</a:t>
                </a:r>
                <a:r>
                  <a:rPr lang="cs-CZ" sz="1200" b="1" dirty="0">
                    <a:latin typeface="+mj-lt"/>
                  </a:rPr>
                  <a:t>I:</a:t>
                </a:r>
                <a:r>
                  <a:rPr lang="cs-CZ" sz="1200" dirty="0">
                    <a:latin typeface="+mj-lt"/>
                  </a:rPr>
                  <a:t> rizikový vývoj s významnými zdravotními dopady, </a:t>
                </a:r>
                <a:r>
                  <a:rPr lang="cs-CZ" sz="1200" u="sng" dirty="0">
                    <a:latin typeface="+mj-lt"/>
                  </a:rPr>
                  <a:t>významný</a:t>
                </a:r>
                <a:r>
                  <a:rPr lang="cs-CZ" sz="1200" dirty="0">
                    <a:latin typeface="+mj-lt"/>
                  </a:rPr>
                  <a:t> další růst</a:t>
                </a: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I:</a:t>
                </a:r>
                <a:r>
                  <a:rPr lang="cs-CZ" sz="1200" dirty="0"/>
                  <a:t> rizikový vývoj s významnými zdravotními dopady, </a:t>
                </a:r>
                <a:r>
                  <a:rPr lang="cs-CZ" sz="1200" u="sng" dirty="0"/>
                  <a:t>střední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</a:t>
                </a:r>
                <a:r>
                  <a:rPr lang="cs-CZ" sz="1200" dirty="0"/>
                  <a:t>: rizikový vývoj s významnými zdravotními dopady, </a:t>
                </a:r>
                <a:r>
                  <a:rPr lang="cs-CZ" sz="1200" u="sng" dirty="0"/>
                  <a:t>nízký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51240278-38A5-48CA-95DB-1B635EA7D165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52818108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avskoslez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97236861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7" name="TextBox 9">
            <a:extLst>
              <a:ext uri="{FF2B5EF4-FFF2-40B4-BE49-F238E27FC236}">
                <a16:creationId xmlns:a16="http://schemas.microsoft.com/office/drawing/2014/main" id="{B4C96A4E-A7FA-40B5-A69D-5144F741B2D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i="1" dirty="0"/>
              <a:t>Pacienti hospitalizovaní v nemocnicích regionu</a:t>
            </a: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7BA70D10-E17E-440F-948B-677875B0EFA8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677656"/>
            <a:chOff x="9993159" y="3767843"/>
            <a:chExt cx="2148963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36FE957F-C64C-446D-9888-D424DDDFE17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148963" cy="2677656"/>
              <a:chOff x="10258697" y="3526984"/>
              <a:chExt cx="2148963" cy="2677656"/>
            </a:xfrm>
          </p:grpSpPr>
          <p:cxnSp>
            <p:nvCxnSpPr>
              <p:cNvPr id="26" name="Přímá spojnice 25">
                <a:extLst>
                  <a:ext uri="{FF2B5EF4-FFF2-40B4-BE49-F238E27FC236}">
                    <a16:creationId xmlns:a16="http://schemas.microsoft.com/office/drawing/2014/main" id="{EB87DF66-7C71-4B32-9F44-644FDE4F5B0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6216587B-179B-4E4E-A281-8EC1F8DA470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3" name="Obdélník 32">
                <a:extLst>
                  <a:ext uri="{FF2B5EF4-FFF2-40B4-BE49-F238E27FC236}">
                    <a16:creationId xmlns:a16="http://schemas.microsoft.com/office/drawing/2014/main" id="{6FFE7E24-E0FE-494A-9C0E-4F788CCD31D8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7" name="TextovéPole 28">
                <a:extLst>
                  <a:ext uri="{FF2B5EF4-FFF2-40B4-BE49-F238E27FC236}">
                    <a16:creationId xmlns:a16="http://schemas.microsoft.com/office/drawing/2014/main" id="{90B622B3-B2B0-49E3-8D86-219517209210}"/>
                  </a:ext>
                </a:extLst>
              </p:cNvPr>
              <p:cNvSpPr txBox="1"/>
              <p:nvPr/>
            </p:nvSpPr>
            <p:spPr>
              <a:xfrm>
                <a:off x="10630649" y="3526984"/>
                <a:ext cx="1777011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kumimoji="0" lang="cs-CZ" sz="120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b="1" kern="0" dirty="0">
                    <a:latin typeface="+mj-lt"/>
                  </a:rPr>
                  <a:t>Sc</a:t>
                </a:r>
                <a:r>
                  <a:rPr lang="cs-CZ" sz="1200" b="1" dirty="0">
                    <a:latin typeface="+mj-lt"/>
                  </a:rPr>
                  <a:t>énář I</a:t>
                </a:r>
                <a:r>
                  <a:rPr lang="en-US" sz="1200" b="1" dirty="0">
                    <a:latin typeface="+mj-lt"/>
                  </a:rPr>
                  <a:t>I</a:t>
                </a:r>
                <a:r>
                  <a:rPr lang="cs-CZ" sz="1200" b="1" dirty="0">
                    <a:latin typeface="+mj-lt"/>
                  </a:rPr>
                  <a:t>I:</a:t>
                </a:r>
                <a:r>
                  <a:rPr lang="cs-CZ" sz="1200" dirty="0">
                    <a:latin typeface="+mj-lt"/>
                  </a:rPr>
                  <a:t> rizikový vývoj s významnými zdravotními dopady, </a:t>
                </a:r>
                <a:r>
                  <a:rPr lang="cs-CZ" sz="1200" u="sng" dirty="0">
                    <a:latin typeface="+mj-lt"/>
                  </a:rPr>
                  <a:t>významný</a:t>
                </a:r>
                <a:r>
                  <a:rPr lang="cs-CZ" sz="1200" dirty="0">
                    <a:latin typeface="+mj-lt"/>
                  </a:rPr>
                  <a:t> další růst</a:t>
                </a: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I:</a:t>
                </a:r>
                <a:r>
                  <a:rPr lang="cs-CZ" sz="1200" dirty="0"/>
                  <a:t> rizikový vývoj s významnými zdravotními dopady, </a:t>
                </a:r>
                <a:r>
                  <a:rPr lang="cs-CZ" sz="1200" u="sng" dirty="0"/>
                  <a:t>střední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>
                  <a:defRPr/>
                </a:pPr>
                <a:r>
                  <a:rPr lang="cs-CZ" sz="1200" b="1" kern="0" dirty="0"/>
                  <a:t>Sc</a:t>
                </a:r>
                <a:r>
                  <a:rPr lang="cs-CZ" sz="1200" b="1" dirty="0"/>
                  <a:t>énář I</a:t>
                </a:r>
                <a:r>
                  <a:rPr lang="cs-CZ" sz="1200" dirty="0"/>
                  <a:t>: rizikový vývoj s významnými zdravotními dopady, </a:t>
                </a:r>
                <a:r>
                  <a:rPr lang="cs-CZ" sz="1200" u="sng" dirty="0"/>
                  <a:t>nízký</a:t>
                </a:r>
                <a:r>
                  <a:rPr lang="cs-CZ" sz="1200" dirty="0"/>
                  <a:t> další růst</a:t>
                </a:r>
                <a:endParaRPr lang="cs-CZ" sz="1200" u="sng" dirty="0"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7872CF2-398A-4270-8CAA-97A2963485D9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9808622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Střed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254230" y="3518139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6225364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EAC2042A-B766-4577-AED1-443CF82934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3771912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4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30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B19932DE-6F82-429A-B5F6-2387D0FF7EA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69265" y="2981877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E1F83592-143B-4287-B559-9DA053C1E84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73933" y="3835663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61A46187-7B7B-4967-BD83-D6C2421B8439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7" name="Přímá spojnice 36">
                <a:extLst>
                  <a:ext uri="{FF2B5EF4-FFF2-40B4-BE49-F238E27FC236}">
                    <a16:creationId xmlns:a16="http://schemas.microsoft.com/office/drawing/2014/main" id="{6459BC0A-B2C1-4D2C-8A8C-487B842FBAE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9729DBED-9578-453A-85DB-E9D9F555138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2" name="Obdélník 41">
                <a:extLst>
                  <a:ext uri="{FF2B5EF4-FFF2-40B4-BE49-F238E27FC236}">
                    <a16:creationId xmlns:a16="http://schemas.microsoft.com/office/drawing/2014/main" id="{83A0555F-D8DB-4A01-B280-7A49CAD72467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3" name="TextovéPole 28">
                <a:extLst>
                  <a:ext uri="{FF2B5EF4-FFF2-40B4-BE49-F238E27FC236}">
                    <a16:creationId xmlns:a16="http://schemas.microsoft.com/office/drawing/2014/main" id="{16734498-76A6-49D8-A7AD-91579483E996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</a:t>
                </a:r>
                <a:r>
                  <a:rPr kumimoji="0" lang="cs-CZ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zikový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325C918E-08A8-4EBD-A83D-FFD1A9499A2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6592608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Jih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254230" y="3518139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24446599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9712224D-A132-4A6B-B5A5-24E19FB4C8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9201518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6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4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3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1A9E3017-54FF-4219-9230-F7AFD0A7884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69265" y="2981877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611D3E59-5E52-4D9D-A088-D86D518470AF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73933" y="3835663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8E06720A-4AAE-4630-BF53-1F00B1124548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7" name="Přímá spojnice 36">
                <a:extLst>
                  <a:ext uri="{FF2B5EF4-FFF2-40B4-BE49-F238E27FC236}">
                    <a16:creationId xmlns:a16="http://schemas.microsoft.com/office/drawing/2014/main" id="{A020BCC1-2CC8-4DA1-83EC-1C10B98227C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100F4120-3E02-4335-9A30-31A3150CD22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2" name="Obdélník 41">
                <a:extLst>
                  <a:ext uri="{FF2B5EF4-FFF2-40B4-BE49-F238E27FC236}">
                    <a16:creationId xmlns:a16="http://schemas.microsoft.com/office/drawing/2014/main" id="{416E124C-1F26-4085-A7F4-06C04CBEC44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3" name="TextovéPole 28">
                <a:extLst>
                  <a:ext uri="{FF2B5EF4-FFF2-40B4-BE49-F238E27FC236}">
                    <a16:creationId xmlns:a16="http://schemas.microsoft.com/office/drawing/2014/main" id="{935C1AD0-DB7D-4A22-BF38-86163E303620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</a:t>
                </a:r>
                <a:r>
                  <a:rPr kumimoji="0" lang="cs-CZ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zikový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35186AAF-CA40-4118-9489-A73E4CB724FF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5073705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Plzeň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254230" y="3518139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90167380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D03D8582-8BBB-47B8-AA9B-CB41233610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6324668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1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8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413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F77C2126-4BBA-4DFE-BA6C-25F550F70B4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69265" y="2981877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1A49E00D-A32B-47D2-91B5-9E414B71FEE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73933" y="3835663"/>
            <a:ext cx="2221115" cy="2677656"/>
            <a:chOff x="9993159" y="3767843"/>
            <a:chExt cx="2221115" cy="2677656"/>
          </a:xfrm>
        </p:grpSpPr>
        <p:grpSp>
          <p:nvGrpSpPr>
            <p:cNvPr id="27" name="Skupina 26">
              <a:extLst>
                <a:ext uri="{FF2B5EF4-FFF2-40B4-BE49-F238E27FC236}">
                  <a16:creationId xmlns:a16="http://schemas.microsoft.com/office/drawing/2014/main" id="{C6EC8159-C3BB-45E6-B419-8C359132C39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7" name="Přímá spojnice 36">
                <a:extLst>
                  <a:ext uri="{FF2B5EF4-FFF2-40B4-BE49-F238E27FC236}">
                    <a16:creationId xmlns:a16="http://schemas.microsoft.com/office/drawing/2014/main" id="{84823265-4C9F-4811-B72C-5E729C35E69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A353B3C0-F786-4C3A-B04B-E7EEBC09245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2" name="Obdélník 41">
                <a:extLst>
                  <a:ext uri="{FF2B5EF4-FFF2-40B4-BE49-F238E27FC236}">
                    <a16:creationId xmlns:a16="http://schemas.microsoft.com/office/drawing/2014/main" id="{EAC50256-D2F9-4F77-948E-76D9E648E34F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3" name="TextovéPole 28">
                <a:extLst>
                  <a:ext uri="{FF2B5EF4-FFF2-40B4-BE49-F238E27FC236}">
                    <a16:creationId xmlns:a16="http://schemas.microsoft.com/office/drawing/2014/main" id="{FF32F9D4-9C95-4CE0-A3A2-3D8C5F468CAA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</a:t>
                </a:r>
                <a:r>
                  <a:rPr kumimoji="0" lang="cs-CZ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zikový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51AC7DC1-806E-40F7-84F2-5619BE5C11C5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3172742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Karlovar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254230" y="3518139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97686739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F9F5A55A-0BC8-411E-BC7D-F1170A194C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2980064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1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8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2FE92202-3246-4117-A76D-6D1198E1856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69265" y="2981877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A50FCC3E-EF61-4BC4-A3FE-B93129EE5B7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73933" y="3835663"/>
            <a:ext cx="2221115" cy="2677656"/>
            <a:chOff x="9993159" y="3767843"/>
            <a:chExt cx="2221115" cy="2677656"/>
          </a:xfrm>
        </p:grpSpPr>
        <p:grpSp>
          <p:nvGrpSpPr>
            <p:cNvPr id="27" name="Skupina 26">
              <a:extLst>
                <a:ext uri="{FF2B5EF4-FFF2-40B4-BE49-F238E27FC236}">
                  <a16:creationId xmlns:a16="http://schemas.microsoft.com/office/drawing/2014/main" id="{05137ABD-97B6-418F-95D4-6C56B8291BD4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7" name="Přímá spojnice 36">
                <a:extLst>
                  <a:ext uri="{FF2B5EF4-FFF2-40B4-BE49-F238E27FC236}">
                    <a16:creationId xmlns:a16="http://schemas.microsoft.com/office/drawing/2014/main" id="{C4CE3F95-5F27-4390-842D-B46BFC39EF3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F473B8E7-BE2E-410E-9DA2-6E15FE2F426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2" name="Obdélník 41">
                <a:extLst>
                  <a:ext uri="{FF2B5EF4-FFF2-40B4-BE49-F238E27FC236}">
                    <a16:creationId xmlns:a16="http://schemas.microsoft.com/office/drawing/2014/main" id="{C9A1187F-C476-46DC-8D03-3D86F4DA7CA2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3" name="TextovéPole 28">
                <a:extLst>
                  <a:ext uri="{FF2B5EF4-FFF2-40B4-BE49-F238E27FC236}">
                    <a16:creationId xmlns:a16="http://schemas.microsoft.com/office/drawing/2014/main" id="{C8D3198B-80C4-446D-9505-DAC4C517B5B5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</a:t>
                </a:r>
                <a:r>
                  <a:rPr kumimoji="0" lang="cs-CZ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zikový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97BD555E-DA4B-4061-B003-F99218210C2D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9034183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Úst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254230" y="3518139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24133480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423E6F0E-1F3B-47F5-AE0A-B0B78E868F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2012165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1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.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9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8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8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397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11ED938A-EBC7-4D93-BB96-CE6C414C2CFB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69265" y="2981877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F48C3BC1-75B1-4BC3-9A23-0BA4041A25F8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73933" y="3835663"/>
            <a:ext cx="2221115" cy="2677656"/>
            <a:chOff x="9993159" y="3767843"/>
            <a:chExt cx="2221115" cy="2677656"/>
          </a:xfrm>
        </p:grpSpPr>
        <p:grpSp>
          <p:nvGrpSpPr>
            <p:cNvPr id="27" name="Skupina 26">
              <a:extLst>
                <a:ext uri="{FF2B5EF4-FFF2-40B4-BE49-F238E27FC236}">
                  <a16:creationId xmlns:a16="http://schemas.microsoft.com/office/drawing/2014/main" id="{FCCC9E8D-214A-4C69-8B9C-1EED6D62EB27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7" name="Přímá spojnice 36">
                <a:extLst>
                  <a:ext uri="{FF2B5EF4-FFF2-40B4-BE49-F238E27FC236}">
                    <a16:creationId xmlns:a16="http://schemas.microsoft.com/office/drawing/2014/main" id="{3B4B2C79-4688-4F08-958A-A7F59137C00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4596F85E-B136-4202-A4E0-C01902C7328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2" name="Obdélník 41">
                <a:extLst>
                  <a:ext uri="{FF2B5EF4-FFF2-40B4-BE49-F238E27FC236}">
                    <a16:creationId xmlns:a16="http://schemas.microsoft.com/office/drawing/2014/main" id="{72D4B7AE-9A32-447E-A23A-66AE78D20C6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3" name="TextovéPole 28">
                <a:extLst>
                  <a:ext uri="{FF2B5EF4-FFF2-40B4-BE49-F238E27FC236}">
                    <a16:creationId xmlns:a16="http://schemas.microsoft.com/office/drawing/2014/main" id="{63223AAF-E776-4032-82B5-0885E5948651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</a:t>
                </a:r>
                <a:r>
                  <a:rPr kumimoji="0" lang="cs-CZ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zikový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29024D2F-496D-4406-9559-EA1A70B9116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7512318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Liber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254230" y="3518139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80360743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77E7D6AA-7A9E-4E0B-8B4A-1AB67E2F31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56183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8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6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1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.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20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68218097-F8B3-4CC3-9FE3-2984FF3E97D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69265" y="2981877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EB445B5E-263F-4D75-9381-38F5CC109184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73933" y="3835663"/>
            <a:ext cx="2221115" cy="2677656"/>
            <a:chOff x="9993159" y="3767843"/>
            <a:chExt cx="2221115" cy="2677656"/>
          </a:xfrm>
        </p:grpSpPr>
        <p:grpSp>
          <p:nvGrpSpPr>
            <p:cNvPr id="27" name="Skupina 26">
              <a:extLst>
                <a:ext uri="{FF2B5EF4-FFF2-40B4-BE49-F238E27FC236}">
                  <a16:creationId xmlns:a16="http://schemas.microsoft.com/office/drawing/2014/main" id="{919D2A99-3D2F-49CA-8249-B7C8CF1037AC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7" name="Přímá spojnice 36">
                <a:extLst>
                  <a:ext uri="{FF2B5EF4-FFF2-40B4-BE49-F238E27FC236}">
                    <a16:creationId xmlns:a16="http://schemas.microsoft.com/office/drawing/2014/main" id="{953F52DA-DF98-4C5A-B2FF-24C504A39F5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2472118C-AD8E-4B34-A4BD-E9C522BF361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2" name="Obdélník 41">
                <a:extLst>
                  <a:ext uri="{FF2B5EF4-FFF2-40B4-BE49-F238E27FC236}">
                    <a16:creationId xmlns:a16="http://schemas.microsoft.com/office/drawing/2014/main" id="{6C034FBD-66E2-4F29-83BB-04E0536E1172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3" name="TextovéPole 28">
                <a:extLst>
                  <a:ext uri="{FF2B5EF4-FFF2-40B4-BE49-F238E27FC236}">
                    <a16:creationId xmlns:a16="http://schemas.microsoft.com/office/drawing/2014/main" id="{E89389F5-8A01-4070-A19D-96D8BA1C062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</a:t>
                </a:r>
                <a:r>
                  <a:rPr kumimoji="0" lang="cs-CZ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zikový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 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A10FBF55-D9DB-4DB8-B267-AE92B39A4594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887302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2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78</TotalTime>
  <Words>3438</Words>
  <Application>Microsoft Office PowerPoint</Application>
  <PresentationFormat>Širokoúhlá obrazovka</PresentationFormat>
  <Paragraphs>858</Paragraphs>
  <Slides>32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KKIP03</vt:lpstr>
      <vt:lpstr>8_Motiv Office</vt:lpstr>
      <vt:lpstr>Epidemie COVID-19 v ČR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Epidemie COVID-19 v ČR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Dušek Ladislav prof. RNDr. Ph.D.</cp:lastModifiedBy>
  <cp:revision>429</cp:revision>
  <dcterms:created xsi:type="dcterms:W3CDTF">2021-03-07T17:05:03Z</dcterms:created>
  <dcterms:modified xsi:type="dcterms:W3CDTF">2021-11-17T20:29:19Z</dcterms:modified>
</cp:coreProperties>
</file>